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xml" ContentType="application/vnd.openxmlformats-officedocument.theme+xml"/>
  <Override PartName="/ppt/tags/tag1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15.xml" ContentType="application/vnd.openxmlformats-officedocument.presentationml.tags+xml"/>
  <Override PartName="/ppt/notesSlides/notesSlide2.xml" ContentType="application/vnd.openxmlformats-officedocument.presentationml.notesSlide+xml"/>
  <Override PartName="/ppt/tags/tag116.xml" ContentType="application/vnd.openxmlformats-officedocument.presentationml.tags+xml"/>
  <Override PartName="/ppt/notesSlides/notesSlide3.xml" ContentType="application/vnd.openxmlformats-officedocument.presentationml.notesSlide+xml"/>
  <Override PartName="/ppt/tags/tag117.xml" ContentType="application/vnd.openxmlformats-officedocument.presentationml.tags+xml"/>
  <Override PartName="/ppt/notesSlides/notesSlide4.xml" ContentType="application/vnd.openxmlformats-officedocument.presentationml.notesSlide+xml"/>
  <Override PartName="/ppt/tags/tag118.xml" ContentType="application/vnd.openxmlformats-officedocument.presentationml.tags+xml"/>
  <Override PartName="/ppt/notesSlides/notesSlide5.xml" ContentType="application/vnd.openxmlformats-officedocument.presentationml.notesSlide+xml"/>
  <Override PartName="/ppt/tags/tag119.xml" ContentType="application/vnd.openxmlformats-officedocument.presentationml.tags+xml"/>
  <Override PartName="/ppt/notesSlides/notesSlide6.xml" ContentType="application/vnd.openxmlformats-officedocument.presentationml.notesSlide+xml"/>
  <Override PartName="/ppt/tags/tag120.xml" ContentType="application/vnd.openxmlformats-officedocument.presentationml.tags+xml"/>
  <Override PartName="/ppt/notesSlides/notesSlide7.xml" ContentType="application/vnd.openxmlformats-officedocument.presentationml.notesSlide+xml"/>
  <Override PartName="/ppt/tags/tag121.xml" ContentType="application/vnd.openxmlformats-officedocument.presentationml.tags+xml"/>
  <Override PartName="/ppt/notesSlides/notesSlide8.xml" ContentType="application/vnd.openxmlformats-officedocument.presentationml.notesSlide+xml"/>
  <Override PartName="/ppt/tags/tag122.xml" ContentType="application/vnd.openxmlformats-officedocument.presentationml.tags+xml"/>
  <Override PartName="/ppt/notesSlides/notesSlide9.xml" ContentType="application/vnd.openxmlformats-officedocument.presentationml.notesSlide+xml"/>
  <Override PartName="/ppt/tags/tag123.xml" ContentType="application/vnd.openxmlformats-officedocument.presentationml.tags+xml"/>
  <Override PartName="/ppt/notesSlides/notesSlide10.xml" ContentType="application/vnd.openxmlformats-officedocument.presentationml.notesSlide+xml"/>
  <Override PartName="/ppt/tags/tag124.xml" ContentType="application/vnd.openxmlformats-officedocument.presentationml.tags+xml"/>
  <Override PartName="/ppt/notesSlides/notesSlide11.xml" ContentType="application/vnd.openxmlformats-officedocument.presentationml.notesSlide+xml"/>
  <Override PartName="/ppt/tags/tag125.xml" ContentType="application/vnd.openxmlformats-officedocument.presentationml.tags+xml"/>
  <Override PartName="/ppt/notesSlides/notesSlide12.xml" ContentType="application/vnd.openxmlformats-officedocument.presentationml.notesSlide+xml"/>
  <Override PartName="/ppt/tags/tag126.xml" ContentType="application/vnd.openxmlformats-officedocument.presentationml.tags+xml"/>
  <Override PartName="/ppt/notesSlides/notesSlide13.xml" ContentType="application/vnd.openxmlformats-officedocument.presentationml.notesSlide+xml"/>
  <Override PartName="/ppt/tags/tag127.xml" ContentType="application/vnd.openxmlformats-officedocument.presentationml.tags+xml"/>
  <Override PartName="/ppt/notesSlides/notesSlide14.xml" ContentType="application/vnd.openxmlformats-officedocument.presentationml.notesSlide+xml"/>
  <Override PartName="/ppt/tags/tag128.xml" ContentType="application/vnd.openxmlformats-officedocument.presentationml.tags+xml"/>
  <Override PartName="/ppt/notesSlides/notesSlide15.xml" ContentType="application/vnd.openxmlformats-officedocument.presentationml.notesSlide+xml"/>
  <Override PartName="/ppt/tags/tag129.xml" ContentType="application/vnd.openxmlformats-officedocument.presentationml.tags+xml"/>
  <Override PartName="/ppt/notesSlides/notesSlide16.xml" ContentType="application/vnd.openxmlformats-officedocument.presentationml.notesSlide+xml"/>
  <Override PartName="/ppt/tags/tag130.xml" ContentType="application/vnd.openxmlformats-officedocument.presentationml.tags+xml"/>
  <Override PartName="/ppt/notesSlides/notesSlide1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 id="2147483760" r:id="rId6"/>
  </p:sldMasterIdLst>
  <p:notesMasterIdLst>
    <p:notesMasterId r:id="rId24"/>
  </p:notesMasterIdLst>
  <p:handoutMasterIdLst>
    <p:handoutMasterId r:id="rId25"/>
  </p:handoutMasterIdLst>
  <p:sldIdLst>
    <p:sldId id="8739" r:id="rId7"/>
    <p:sldId id="2048" r:id="rId8"/>
    <p:sldId id="1996" r:id="rId9"/>
    <p:sldId id="8734" r:id="rId10"/>
    <p:sldId id="2015" r:id="rId11"/>
    <p:sldId id="8780" r:id="rId12"/>
    <p:sldId id="2017" r:id="rId13"/>
    <p:sldId id="2040" r:id="rId14"/>
    <p:sldId id="2071" r:id="rId15"/>
    <p:sldId id="2041" r:id="rId16"/>
    <p:sldId id="2049" r:id="rId17"/>
    <p:sldId id="8781" r:id="rId18"/>
    <p:sldId id="1997" r:id="rId19"/>
    <p:sldId id="8783" r:id="rId20"/>
    <p:sldId id="8788" r:id="rId21"/>
    <p:sldId id="2050" r:id="rId22"/>
    <p:sldId id="2046" r:id="rId23"/>
  </p:sldIdLst>
  <p:sldSz cx="12192000" cy="6858000"/>
  <p:notesSz cx="6669088" cy="9926638"/>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ådan kan I arbejde med resultaterne" id="{90E45515-99C3-4EA8-89A3-F0C2A55DFA38}">
          <p14:sldIdLst>
            <p14:sldId id="8739"/>
            <p14:sldId id="2048"/>
            <p14:sldId id="1996"/>
            <p14:sldId id="8734"/>
            <p14:sldId id="2015"/>
            <p14:sldId id="8780"/>
            <p14:sldId id="2017"/>
            <p14:sldId id="2040"/>
            <p14:sldId id="2071"/>
            <p14:sldId id="2041"/>
            <p14:sldId id="2049"/>
            <p14:sldId id="8781"/>
            <p14:sldId id="1997"/>
            <p14:sldId id="8783"/>
            <p14:sldId id="8788"/>
            <p14:sldId id="2050"/>
            <p14:sldId id="204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6B8D000-F82D-2D0C-51ED-428BE9EB0964}" name="Nikolaj Godsk Vestergaard" initials="NGV" userId="S::ngv@ramboll.com::13f6e931-e8bb-4f58-9241-2f10614c3355" providerId="AD"/>
  <p188:author id="{60F7C223-4C18-FD4B-A6A9-C7DF1445EE49}" name="Matilde Bay Lyhne" initials="MBL" userId="S::MBLH@ramboll.com::a039d037-0c3d-4f54-991e-c2f61f8db783" providerId="AD"/>
  <p188:author id="{E2AB4229-5360-8B8D-47A9-CBB0842CF039}" name="Stine Rauff Bommersholdt" initials="SRB" userId="S::srb@ramboll.com::bb454674-bbcb-4315-8711-7c6e7a96d6c8" providerId="AD"/>
  <p188:author id="{E763F33A-282B-3A02-CBE0-C9F036E4D86F}" name="Mia Rytter Lund" initials="ML" userId="S::mryl@ramboll.com::fd5a37df-57b5-4ab7-b42f-f051b0300ae8" providerId="AD"/>
  <p188:author id="{92657D86-AABF-8C4C-6F51-D65416DCF824}" name="Line Pors Jørgensen" initials="LJ" userId="S::lej@ramboll.com::0132e566-f4bf-401a-a981-ca4845cdd2a4" providerId="AD"/>
  <p188:author id="{0BA25B9C-FEEF-EEBE-D988-74E296632A26}" name="Ida Høst Poulsen" initials="IHP" userId="S::IHPN@ramboll.com::2d088ed6-0a98-46db-a6ce-9daf67945352" providerId="AD"/>
  <p188:author id="{B8EB43D8-BA93-3328-CB14-FF93A5F1FBF8}" name="Helle Marie Andersen" initials="HMA" userId="S::hma@ramboll.com::4a3227bc-3134-4031-a68f-9facf9df4a95" providerId="AD"/>
  <p188:author id="{FD6096FA-94D4-FC42-A793-12E6BD8212EE}" name="Line Pors Jørgensen" initials="LPJ" userId="S::LEJ@ramboll.com::0132e566-f4bf-401a-a981-ca4845cdd2a4" providerId="AD"/>
  <p188:author id="{206940FC-A99F-6378-E12A-33EDEA0780C5}" name="Sophie Bayer" initials="SB" userId="S::AECB@ramboll.com::ede9276c-710b-4378-937b-bdc2eba6c543" providerId="AD"/>
  <p188:author id="{C1F161FD-E976-00BF-7048-A16D50EA37DE}" name="Mia Rytter Lund" initials="MRL" userId="S::MRYL@ramboll.com::fd5a37df-57b5-4ab7-b42f-f051b0300ae8"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6E6E6"/>
    <a:srgbClr val="FFFFFF"/>
    <a:srgbClr val="273F68"/>
    <a:srgbClr val="FFD11D"/>
    <a:srgbClr val="D5B429"/>
    <a:srgbClr val="DDC251"/>
    <a:srgbClr val="E4CF74"/>
    <a:srgbClr val="BD9ADD"/>
    <a:srgbClr val="EF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43"/>
    <p:restoredTop sz="84599" autoAdjust="0"/>
  </p:normalViewPr>
  <p:slideViewPr>
    <p:cSldViewPr snapToGrid="0">
      <p:cViewPr varScale="1">
        <p:scale>
          <a:sx n="132" d="100"/>
          <a:sy n="132" d="100"/>
        </p:scale>
        <p:origin x="552" y="17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61ADCD-0986-466F-BCF4-F1403744020F}"/>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6FAD45B1-DDA3-4823-B57F-398ED6D7CE50}"/>
              </a:ext>
            </a:extLst>
          </p:cNvPr>
          <p:cNvSpPr>
            <a:spLocks noGrp="1"/>
          </p:cNvSpPr>
          <p:nvPr>
            <p:ph type="dt" sz="quarter" idx="1"/>
          </p:nvPr>
        </p:nvSpPr>
        <p:spPr>
          <a:xfrm>
            <a:off x="3777607" y="0"/>
            <a:ext cx="2889938" cy="498056"/>
          </a:xfrm>
          <a:prstGeom prst="rect">
            <a:avLst/>
          </a:prstGeom>
        </p:spPr>
        <p:txBody>
          <a:bodyPr vert="horz" lIns="91440" tIns="45720" rIns="91440" bIns="45720" rtlCol="0"/>
          <a:lstStyle>
            <a:lvl1pPr algn="r">
              <a:defRPr sz="1200"/>
            </a:lvl1pPr>
          </a:lstStyle>
          <a:p>
            <a:fld id="{A942B987-EC31-4746-B4E6-062CD7AA3A1A}" type="datetime1">
              <a:rPr lang="en-GB" smtClean="0"/>
              <a:t>18/06/2024</a:t>
            </a:fld>
            <a:endParaRPr lang="en-GB"/>
          </a:p>
        </p:txBody>
      </p:sp>
      <p:sp>
        <p:nvSpPr>
          <p:cNvPr id="4" name="Slide Number Placeholder 3">
            <a:extLst>
              <a:ext uri="{FF2B5EF4-FFF2-40B4-BE49-F238E27FC236}">
                <a16:creationId xmlns:a16="http://schemas.microsoft.com/office/drawing/2014/main" id="{7A3B3C53-DC75-4A5C-81E7-5D7CB96E1298}"/>
              </a:ext>
            </a:extLst>
          </p:cNvPr>
          <p:cNvSpPr>
            <a:spLocks noGrp="1"/>
          </p:cNvSpPr>
          <p:nvPr>
            <p:ph type="sldNum" sz="quarter" idx="3"/>
          </p:nvPr>
        </p:nvSpPr>
        <p:spPr>
          <a:xfrm>
            <a:off x="3777607" y="9428584"/>
            <a:ext cx="2889938" cy="498055"/>
          </a:xfrm>
          <a:prstGeom prst="rect">
            <a:avLst/>
          </a:prstGeom>
        </p:spPr>
        <p:txBody>
          <a:bodyPr vert="horz" lIns="91440" tIns="45720" rIns="91440" bIns="45720" rtlCol="0" anchor="b"/>
          <a:lstStyle>
            <a:lvl1pPr algn="r">
              <a:defRPr sz="1200"/>
            </a:lvl1pPr>
          </a:lstStyle>
          <a:p>
            <a:fld id="{C5BF6EE6-6533-46A0-A8FB-DBC252423243}" type="slidenum">
              <a:rPr lang="en-GB" smtClean="0"/>
              <a:t>‹nr.›</a:t>
            </a:fld>
            <a:endParaRPr lang="en-GB"/>
          </a:p>
        </p:txBody>
      </p:sp>
      <p:sp>
        <p:nvSpPr>
          <p:cNvPr id="5" name="Footer Placeholder 4">
            <a:extLst>
              <a:ext uri="{FF2B5EF4-FFF2-40B4-BE49-F238E27FC236}">
                <a16:creationId xmlns:a16="http://schemas.microsoft.com/office/drawing/2014/main" id="{9891B013-C79C-4BAB-9591-CE1E1BF2A98D}"/>
              </a:ext>
            </a:extLst>
          </p:cNvPr>
          <p:cNvSpPr>
            <a:spLocks noGrp="1"/>
          </p:cNvSpPr>
          <p:nvPr>
            <p:ph type="ftr" sz="quarter" idx="2"/>
          </p:nvPr>
        </p:nvSpPr>
        <p:spPr>
          <a:xfrm>
            <a:off x="0" y="9428584"/>
            <a:ext cx="2889938" cy="49805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7838611-CB23-4A11-B466-01829FB3E64B}"/>
              </a:ext>
            </a:extLst>
          </p:cNvPr>
          <p:cNvSpPr>
            <a:spLocks noGrp="1"/>
          </p:cNvSpPr>
          <p:nvPr>
            <p:ph type="sldNum" sz="quarter" idx="5"/>
          </p:nvPr>
        </p:nvSpPr>
        <p:spPr>
          <a:xfrm>
            <a:off x="3777607" y="9428584"/>
            <a:ext cx="2889938" cy="498055"/>
          </a:xfrm>
          <a:prstGeom prst="rect">
            <a:avLst/>
          </a:prstGeom>
        </p:spPr>
        <p:txBody>
          <a:bodyPr vert="horz" lIns="91440" tIns="45720" rIns="91440" bIns="45720" rtlCol="0" anchor="b"/>
          <a:lstStyle>
            <a:lvl1pPr algn="r" rtl="0">
              <a:defRPr sz="1200"/>
            </a:lvl1pPr>
          </a:lstStyle>
          <a:p>
            <a:fld id="{1B1D025B-ACD2-45C1-B156-1DDB470CE319}" type="slidenum">
              <a:rPr lang="da-DK" smtClean="0"/>
              <a:pPr/>
              <a:t>‹nr.›</a:t>
            </a:fld>
            <a:endParaRPr lang="da-DK"/>
          </a:p>
        </p:txBody>
      </p:sp>
      <p:sp>
        <p:nvSpPr>
          <p:cNvPr id="3" name="Notes Placeholder 2">
            <a:extLst>
              <a:ext uri="{FF2B5EF4-FFF2-40B4-BE49-F238E27FC236}">
                <a16:creationId xmlns:a16="http://schemas.microsoft.com/office/drawing/2014/main" id="{05F8BE06-C1AD-4FF4-9212-678516BAB917}"/>
              </a:ext>
            </a:extLst>
          </p:cNvPr>
          <p:cNvSpPr>
            <a:spLocks noGrp="1"/>
          </p:cNvSpPr>
          <p:nvPr>
            <p:ph type="body" sz="quarter" idx="3"/>
          </p:nvPr>
        </p:nvSpPr>
        <p:spPr>
          <a:xfrm>
            <a:off x="666909" y="4777195"/>
            <a:ext cx="5335270" cy="3908614"/>
          </a:xfrm>
          <a:prstGeom prst="rect">
            <a:avLst/>
          </a:prstGeom>
        </p:spPr>
        <p:txBody>
          <a:bodyPr vert="horz" lIns="91440" tIns="45720" rIns="91440" bIns="45720" rtlCol="0"/>
          <a:lstStyle/>
          <a:p>
            <a:pPr lvl="0"/>
            <a:r>
              <a:rPr lang="da-DK"/>
              <a:t>Click to edit Master text styles</a:t>
            </a:r>
          </a:p>
          <a:p>
            <a:pPr lvl="1"/>
            <a:r>
              <a:rPr lang="da-DK"/>
              <a:t>Second level</a:t>
            </a:r>
          </a:p>
          <a:p>
            <a:pPr lvl="2"/>
            <a:r>
              <a:rPr lang="da-DK"/>
              <a:t>Third level</a:t>
            </a:r>
          </a:p>
          <a:p>
            <a:pPr lvl="3"/>
            <a:r>
              <a:rPr lang="da-DK"/>
              <a:t>Fourth level</a:t>
            </a:r>
          </a:p>
          <a:p>
            <a:pPr lvl="4"/>
            <a:r>
              <a:rPr lang="da-DK"/>
              <a:t>Fifth level</a:t>
            </a:r>
          </a:p>
        </p:txBody>
      </p:sp>
      <p:sp>
        <p:nvSpPr>
          <p:cNvPr id="4" name="Date Placeholder 3">
            <a:extLst>
              <a:ext uri="{FF2B5EF4-FFF2-40B4-BE49-F238E27FC236}">
                <a16:creationId xmlns:a16="http://schemas.microsoft.com/office/drawing/2014/main" id="{8D410225-CB48-4A2A-9739-463AD2DBC317}"/>
              </a:ext>
            </a:extLst>
          </p:cNvPr>
          <p:cNvSpPr>
            <a:spLocks noGrp="1"/>
          </p:cNvSpPr>
          <p:nvPr>
            <p:ph type="dt" idx="1"/>
          </p:nvPr>
        </p:nvSpPr>
        <p:spPr>
          <a:xfrm>
            <a:off x="3777607" y="0"/>
            <a:ext cx="2889938" cy="498056"/>
          </a:xfrm>
          <a:prstGeom prst="rect">
            <a:avLst/>
          </a:prstGeom>
        </p:spPr>
        <p:txBody>
          <a:bodyPr vert="horz" lIns="91440" tIns="45720" rIns="91440" bIns="45720" rtlCol="0"/>
          <a:lstStyle>
            <a:lvl1pPr algn="r" rtl="0">
              <a:defRPr sz="1200"/>
            </a:lvl1pPr>
          </a:lstStyle>
          <a:p>
            <a:fld id="{D325BBF7-0B0C-48D4-ABAA-EF360EF241C5}" type="datetime1">
              <a:rPr lang="da-DK" smtClean="0"/>
              <a:pPr/>
              <a:t>18.06.2024</a:t>
            </a:fld>
            <a:endParaRPr lang="da-DK"/>
          </a:p>
        </p:txBody>
      </p:sp>
      <p:sp>
        <p:nvSpPr>
          <p:cNvPr id="5" name="Header Placeholder 4">
            <a:extLst>
              <a:ext uri="{FF2B5EF4-FFF2-40B4-BE49-F238E27FC236}">
                <a16:creationId xmlns:a16="http://schemas.microsoft.com/office/drawing/2014/main" id="{668863D3-1D0C-412C-99BB-873840116AC5}"/>
              </a:ext>
            </a:extLst>
          </p:cNvPr>
          <p:cNvSpPr>
            <a:spLocks noGrp="1"/>
          </p:cNvSpPr>
          <p:nvPr>
            <p:ph type="hdr" sz="quarter"/>
          </p:nvPr>
        </p:nvSpPr>
        <p:spPr>
          <a:xfrm>
            <a:off x="0" y="0"/>
            <a:ext cx="2889938" cy="498056"/>
          </a:xfrm>
          <a:prstGeom prst="rect">
            <a:avLst/>
          </a:prstGeom>
        </p:spPr>
        <p:txBody>
          <a:bodyPr vert="horz" lIns="91440" tIns="45720" rIns="91440" bIns="45720" rtlCol="0"/>
          <a:lstStyle>
            <a:lvl1pPr algn="l" rtl="0">
              <a:defRPr sz="1200"/>
            </a:lvl1pPr>
          </a:lstStyle>
          <a:p>
            <a:endParaRPr lang="da-DK"/>
          </a:p>
        </p:txBody>
      </p:sp>
      <p:sp>
        <p:nvSpPr>
          <p:cNvPr id="6" name="Slide Image Placeholder 5">
            <a:extLst>
              <a:ext uri="{FF2B5EF4-FFF2-40B4-BE49-F238E27FC236}">
                <a16:creationId xmlns:a16="http://schemas.microsoft.com/office/drawing/2014/main" id="{5E44B7E2-ED93-42BE-81A6-FE398D91C198}"/>
              </a:ext>
            </a:extLst>
          </p:cNvPr>
          <p:cNvSpPr>
            <a:spLocks noGrp="1" noRot="1" noChangeAspect="1"/>
          </p:cNvSpPr>
          <p:nvPr>
            <p:ph type="sldImg" idx="2"/>
          </p:nvPr>
        </p:nvSpPr>
        <p:spPr>
          <a:xfrm>
            <a:off x="357188" y="1239838"/>
            <a:ext cx="5954712" cy="3351212"/>
          </a:xfrm>
          <a:prstGeom prst="rect">
            <a:avLst/>
          </a:prstGeom>
          <a:noFill/>
          <a:ln w="12700">
            <a:solidFill>
              <a:prstClr val="black"/>
            </a:solidFill>
          </a:ln>
        </p:spPr>
        <p:txBody>
          <a:bodyPr vert="horz" lIns="91440" tIns="45720" rIns="91440" bIns="45720" rtlCol="0" anchor="ctr"/>
          <a:lstStyle/>
          <a:p>
            <a:endParaRPr lang="en-GB"/>
          </a:p>
        </p:txBody>
      </p:sp>
      <p:sp>
        <p:nvSpPr>
          <p:cNvPr id="7" name="Footer Placeholder 6">
            <a:extLst>
              <a:ext uri="{FF2B5EF4-FFF2-40B4-BE49-F238E27FC236}">
                <a16:creationId xmlns:a16="http://schemas.microsoft.com/office/drawing/2014/main" id="{75691570-C65F-4C66-9CB2-8798BF7E897F}"/>
              </a:ext>
            </a:extLst>
          </p:cNvPr>
          <p:cNvSpPr>
            <a:spLocks noGrp="1"/>
          </p:cNvSpPr>
          <p:nvPr>
            <p:ph type="ftr" sz="quarter" idx="4"/>
          </p:nvPr>
        </p:nvSpPr>
        <p:spPr>
          <a:xfrm>
            <a:off x="0" y="9428584"/>
            <a:ext cx="2889938" cy="498055"/>
          </a:xfrm>
          <a:prstGeom prst="rect">
            <a:avLst/>
          </a:prstGeom>
        </p:spPr>
        <p:txBody>
          <a:bodyPr vert="horz" lIns="91440" tIns="45720" rIns="91440" bIns="45720" rtlCol="0" anchor="b"/>
          <a:lstStyle>
            <a:lvl1pPr algn="l" rtl="0">
              <a:defRPr sz="1200"/>
            </a:lvl1pPr>
          </a:lstStyle>
          <a:p>
            <a:endParaRPr lang="da-DK"/>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hf/>
  <p:notesStyle>
    <a:lvl1pPr marL="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1pPr>
    <a:lvl2pPr marL="18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2pPr>
    <a:lvl3pPr marL="36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3pPr>
    <a:lvl4pPr marL="54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4pPr>
    <a:lvl5pPr marL="720000" indent="0" algn="l" defTabSz="914400" rtl="0" eaLnBrk="1" latinLnBrk="0" hangingPunct="1">
      <a:buFont typeface="Arial" panose="020B0604020202020204" pitchFamily="34" charset="0"/>
      <a:buNone/>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0935400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a:t>
            </a:r>
          </a:p>
          <a:p>
            <a:endParaRPr lang="da-DK" dirty="0"/>
          </a:p>
          <a:p>
            <a:r>
              <a:rPr lang="da-DK" dirty="0"/>
              <a:t>Øvelsen kan tilpasses afhængigt af, hvor meget tid I har afsat til at arbejde med øvelsen. Rambøll foreslår følgende program:</a:t>
            </a:r>
          </a:p>
          <a:p>
            <a:pPr marL="171450" indent="-171450">
              <a:buFont typeface="Arial" panose="020B0604020202020204" pitchFamily="34" charset="0"/>
              <a:buChar char="•"/>
            </a:pPr>
            <a:r>
              <a:rPr lang="da-DK" dirty="0"/>
              <a:t>Præsentation (10 min.)</a:t>
            </a:r>
          </a:p>
          <a:p>
            <a:pPr marL="171450" indent="-171450">
              <a:buFont typeface="Arial" panose="020B0604020202020204" pitchFamily="34" charset="0"/>
              <a:buChar char="•"/>
            </a:pPr>
            <a:r>
              <a:rPr lang="da-DK" dirty="0"/>
              <a:t>Gruppedrøftelser (20-30 min.) </a:t>
            </a:r>
          </a:p>
          <a:p>
            <a:pPr marL="171450" indent="-171450">
              <a:buFont typeface="Arial" panose="020B0604020202020204" pitchFamily="34" charset="0"/>
              <a:buChar char="•"/>
            </a:pPr>
            <a:r>
              <a:rPr lang="da-DK" dirty="0"/>
              <a:t>Drøftelser af næste skridt (10 min.)</a:t>
            </a: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0</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970455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a:t>
            </a:r>
          </a:p>
          <a:p>
            <a:endParaRPr lang="da-DK" dirty="0"/>
          </a:p>
          <a:p>
            <a:r>
              <a:rPr lang="da-DK" dirty="0"/>
              <a:t>Øvelsen kan tilpasses afhængigt af, hvor meget tid I har afsat til at arbejde med øvelsen. Rambøll foreslår følgende program:</a:t>
            </a:r>
          </a:p>
          <a:p>
            <a:pPr marL="171450" indent="-171450">
              <a:buFont typeface="Arial" panose="020B0604020202020204" pitchFamily="34" charset="0"/>
              <a:buChar char="•"/>
            </a:pPr>
            <a:r>
              <a:rPr lang="da-DK" dirty="0"/>
              <a:t>Orientering i prøvehandlinger (10 min.)</a:t>
            </a:r>
          </a:p>
          <a:p>
            <a:pPr marL="171450" indent="-171450">
              <a:buFont typeface="Arial" panose="020B0604020202020204" pitchFamily="34" charset="0"/>
              <a:buChar char="•"/>
            </a:pPr>
            <a:r>
              <a:rPr lang="da-DK" dirty="0"/>
              <a:t>Udvælgelse af prøvehandlinger (10 min.) </a:t>
            </a:r>
          </a:p>
          <a:p>
            <a:pPr marL="171450" indent="-171450">
              <a:buFont typeface="Arial" panose="020B0604020202020204" pitchFamily="34" charset="0"/>
              <a:buChar char="•"/>
            </a:pPr>
            <a:r>
              <a:rPr lang="da-DK" dirty="0"/>
              <a:t>Drøftelser (20-40 min.)</a:t>
            </a: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1</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5209462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4598590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2291588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459859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1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056672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a:t>
            </a:r>
          </a:p>
          <a:p>
            <a:endParaRPr lang="da-DK" dirty="0"/>
          </a:p>
          <a:p>
            <a:r>
              <a:rPr lang="da-DK" dirty="0"/>
              <a:t>Øvelsen kan tilpasses afhængigt af, hvor meget tid I har afsat til at arbejde med øvelsen. Rambøll foreslår følgende progra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Udvælgelse af ord (10 m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dirty="0"/>
              <a:t>Præsentation og drøftelser (20-40 min.) </a:t>
            </a: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5493295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 </a:t>
            </a:r>
          </a:p>
          <a:p>
            <a:endParaRPr lang="da-DK" dirty="0"/>
          </a:p>
          <a:p>
            <a:pPr algn="l"/>
            <a:r>
              <a:rPr lang="da-DK" dirty="0"/>
              <a:t>Denne word-cloud er tiltænkt som et dialogredskab, som både ledelse og </a:t>
            </a:r>
            <a:r>
              <a:rPr lang="da-DK" sz="1200" b="0" kern="0" dirty="0">
                <a:solidFill>
                  <a:srgbClr val="FFFFFF"/>
                </a:solidFill>
                <a:latin typeface="Quicksand"/>
              </a:rPr>
              <a:t>pædagogisk personale kan anvende med henblik på at skabe spændende dialoger om lokale børnesyn og arbejdet med børnsyn i praksis. </a:t>
            </a:r>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1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2928195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2</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182665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a:t>
            </a:r>
          </a:p>
          <a:p>
            <a:endParaRPr lang="da-DK" dirty="0"/>
          </a:p>
          <a:p>
            <a:r>
              <a:rPr lang="da-DK" dirty="0"/>
              <a:t>Øvelsen kan tilpasses afhængigt af, hvor meget tid I har afsat til at arbejde med øvelsen. Rambøll foreslår følgende program:</a:t>
            </a:r>
          </a:p>
          <a:p>
            <a:pPr marL="171450" indent="-171450">
              <a:buFont typeface="Arial" panose="020B0604020202020204" pitchFamily="34" charset="0"/>
              <a:buChar char="•"/>
            </a:pPr>
            <a:r>
              <a:rPr lang="da-DK" dirty="0"/>
              <a:t>Præsentation (15 min.)</a:t>
            </a:r>
          </a:p>
          <a:p>
            <a:pPr marL="171450" indent="-171450">
              <a:buFont typeface="Arial" panose="020B0604020202020204" pitchFamily="34" charset="0"/>
              <a:buChar char="•"/>
            </a:pPr>
            <a:r>
              <a:rPr lang="da-DK" dirty="0"/>
              <a:t>Gruppedrøftelser (20-40 min.)</a:t>
            </a:r>
          </a:p>
          <a:p>
            <a:pPr marL="171450" indent="-171450">
              <a:buFont typeface="Arial" panose="020B0604020202020204" pitchFamily="34" charset="0"/>
              <a:buChar char="•"/>
            </a:pPr>
            <a:r>
              <a:rPr lang="da-DK" dirty="0"/>
              <a:t>Opsamling i plenum (20-25 min.)</a:t>
            </a: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3</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124651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4</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22333065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5</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4568704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da-DK" b="0"/>
          </a:p>
        </p:txBody>
      </p:sp>
      <p:sp>
        <p:nvSpPr>
          <p:cNvPr id="4" name="Slide Number Placeholder 3"/>
          <p:cNvSpPr>
            <a:spLocks noGrp="1"/>
          </p:cNvSpPr>
          <p:nvPr>
            <p:ph type="sldNum" sz="quarter" idx="5"/>
          </p:nvPr>
        </p:nvSpPr>
        <p:spPr/>
        <p:txBody>
          <a:bodyPr/>
          <a:lstStyle/>
          <a:p>
            <a:fld id="{1B1D025B-ACD2-45C1-B156-1DDB470CE319}" type="slidenum">
              <a:rPr lang="da-DK" smtClean="0"/>
              <a:pPr/>
              <a:t>6</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72305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1B1D025B-ACD2-45C1-B156-1DDB470CE319}" type="slidenum">
              <a:rPr lang="da-DK" smtClean="0"/>
              <a:pPr/>
              <a:t>7</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19077252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b="1" dirty="0"/>
              <a:t>Uddybende noter:</a:t>
            </a:r>
          </a:p>
          <a:p>
            <a:endParaRPr lang="da-DK" dirty="0"/>
          </a:p>
          <a:p>
            <a:r>
              <a:rPr lang="da-DK" dirty="0"/>
              <a:t>Øvelsen kan tilpasses afhængigt af, hvor meget tid I har afsat til at arbejde med øvelsen. Rambøll foreslår følgende program:</a:t>
            </a:r>
          </a:p>
          <a:p>
            <a:pPr marL="171450" indent="-171450">
              <a:buFont typeface="Arial" panose="020B0604020202020204" pitchFamily="34" charset="0"/>
              <a:buChar char="•"/>
            </a:pPr>
            <a:r>
              <a:rPr lang="da-DK" dirty="0"/>
              <a:t>Præsentation (20-30 min.)</a:t>
            </a:r>
          </a:p>
          <a:p>
            <a:pPr marL="171450" indent="-171450">
              <a:buFont typeface="Arial" panose="020B0604020202020204" pitchFamily="34" charset="0"/>
              <a:buChar char="•"/>
            </a:pPr>
            <a:r>
              <a:rPr lang="da-DK" dirty="0"/>
              <a:t>Gruppedrøftelser (20-40 min.)</a:t>
            </a:r>
          </a:p>
          <a:p>
            <a:pPr marL="171450" indent="-171450">
              <a:buFont typeface="Arial" panose="020B0604020202020204" pitchFamily="34" charset="0"/>
              <a:buChar char="•"/>
            </a:pPr>
            <a:r>
              <a:rPr lang="da-DK" dirty="0"/>
              <a:t>Opsamling i plenum (20-25 min.)</a:t>
            </a:r>
          </a:p>
          <a:p>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8</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3750347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da-DK" b="1" dirty="0"/>
              <a:t>Uddybende noter: </a:t>
            </a:r>
            <a:br>
              <a:rPr lang="da-DK" dirty="0"/>
            </a:br>
            <a:br>
              <a:rPr lang="da-DK" dirty="0"/>
            </a:br>
            <a:r>
              <a:rPr lang="da-DK" dirty="0"/>
              <a:t>Dette lytteark er tiltænkt som note-og dialogredskab, som kan anvendes i forbindelse med at pædagogisk personale præsenteres for evalueringens resultater.</a:t>
            </a:r>
          </a:p>
          <a:p>
            <a:pPr algn="l"/>
            <a:endParaRPr lang="da-DK" dirty="0"/>
          </a:p>
        </p:txBody>
      </p:sp>
      <p:sp>
        <p:nvSpPr>
          <p:cNvPr id="4" name="Slide Number Placeholder 3"/>
          <p:cNvSpPr>
            <a:spLocks noGrp="1"/>
          </p:cNvSpPr>
          <p:nvPr>
            <p:ph type="sldNum" sz="quarter" idx="5"/>
          </p:nvPr>
        </p:nvSpPr>
        <p:spPr/>
        <p:txBody>
          <a:bodyPr/>
          <a:lstStyle/>
          <a:p>
            <a:fld id="{1B1D025B-ACD2-45C1-B156-1DDB470CE319}" type="slidenum">
              <a:rPr lang="da-DK" smtClean="0"/>
              <a:pPr/>
              <a:t>9</a:t>
            </a:fld>
            <a:endParaRPr lang="da-DK"/>
          </a:p>
        </p:txBody>
      </p:sp>
      <p:sp>
        <p:nvSpPr>
          <p:cNvPr id="5" name="Date Placeholder 4"/>
          <p:cNvSpPr>
            <a:spLocks noGrp="1"/>
          </p:cNvSpPr>
          <p:nvPr>
            <p:ph type="dt" idx="1"/>
          </p:nvPr>
        </p:nvSpPr>
        <p:spPr/>
        <p:txBody>
          <a:bodyPr/>
          <a:lstStyle/>
          <a:p>
            <a:fld id="{D325BBF7-0B0C-48D4-ABAA-EF360EF241C5}" type="datetime1">
              <a:rPr lang="da-DK" smtClean="0"/>
              <a:pPr/>
              <a:t>18.06.2024</a:t>
            </a:fld>
            <a:endParaRPr lang="da-DK"/>
          </a:p>
        </p:txBody>
      </p:sp>
      <p:sp>
        <p:nvSpPr>
          <p:cNvPr id="6" name="Header Placeholder 5"/>
          <p:cNvSpPr>
            <a:spLocks noGrp="1"/>
          </p:cNvSpPr>
          <p:nvPr>
            <p:ph type="hdr" sz="quarter"/>
          </p:nvPr>
        </p:nvSpPr>
        <p:spPr/>
        <p:txBody>
          <a:bodyPr/>
          <a:lstStyle/>
          <a:p>
            <a:endParaRPr lang="da-DK"/>
          </a:p>
        </p:txBody>
      </p:sp>
      <p:sp>
        <p:nvSpPr>
          <p:cNvPr id="7" name="Footer Placeholder 6"/>
          <p:cNvSpPr>
            <a:spLocks noGrp="1"/>
          </p:cNvSpPr>
          <p:nvPr>
            <p:ph type="ftr" sz="quarter" idx="4"/>
          </p:nvPr>
        </p:nvSpPr>
        <p:spPr/>
        <p:txBody>
          <a:bodyPr/>
          <a:lstStyle/>
          <a:p>
            <a:endParaRPr lang="da-DK"/>
          </a:p>
        </p:txBody>
      </p:sp>
    </p:spTree>
    <p:extLst>
      <p:ext uri="{BB962C8B-B14F-4D97-AF65-F5344CB8AC3E}">
        <p14:creationId xmlns:p14="http://schemas.microsoft.com/office/powerpoint/2010/main" val="8270294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2.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111.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12.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2.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2.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2.emf"/></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2.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0.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2.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2.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2.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2.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2.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2.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2.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emf"/></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oleObject" Target="../embeddings/oleObject55.bin"/><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slideMaster" Target="../slideMasters/slideMaster1.xml"/><Relationship Id="rId1" Type="http://schemas.openxmlformats.org/officeDocument/2006/relationships/tags" Target="../tags/tag56.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image" Target="../media/image2.emf"/><Relationship Id="rId9" Type="http://schemas.openxmlformats.org/officeDocument/2006/relationships/image" Target="../media/image12.png"/><Relationship Id="rId14" Type="http://schemas.openxmlformats.org/officeDocument/2006/relationships/image" Target="../media/image17.png"/></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image" Target="../media/image2.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2.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2.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2.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2.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4" Type="http://schemas.openxmlformats.org/officeDocument/2006/relationships/image" Target="../media/image2.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2.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2.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2.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2.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2.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2.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2.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2.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2.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2.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2.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2.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2.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6D48E49-C548-4C40-B4E5-416753470B56}"/>
              </a:ext>
            </a:extLst>
          </p:cNvPr>
          <p:cNvGraphicFramePr>
            <a:graphicFrameLocks noChangeAspect="1"/>
          </p:cNvGraphicFramePr>
          <p:nvPr userDrawn="1">
            <p:custDataLst>
              <p:tags r:id="rId1"/>
            </p:custDataLst>
            <p:extLst>
              <p:ext uri="{D42A27DB-BD31-4B8C-83A1-F6EECF244321}">
                <p14:modId xmlns:p14="http://schemas.microsoft.com/office/powerpoint/2010/main" val="1773381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6D48E49-C548-4C40-B4E5-416753470B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4227111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rgbClr val="E6E6E6"/>
        </a:solidFill>
        <a:effectLst/>
      </p:bgPr>
    </p:bg>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100C677-B418-4EDF-ABC6-CE08CDC695FD}"/>
              </a:ext>
            </a:extLst>
          </p:cNvPr>
          <p:cNvGraphicFramePr>
            <a:graphicFrameLocks noChangeAspect="1"/>
          </p:cNvGraphicFramePr>
          <p:nvPr userDrawn="1">
            <p:custDataLst>
              <p:tags r:id="rId1"/>
            </p:custDataLst>
            <p:extLst>
              <p:ext uri="{D42A27DB-BD31-4B8C-83A1-F6EECF244321}">
                <p14:modId xmlns:p14="http://schemas.microsoft.com/office/powerpoint/2010/main" val="143951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68" name="Object 67" hidden="1">
                        <a:extLst>
                          <a:ext uri="{FF2B5EF4-FFF2-40B4-BE49-F238E27FC236}">
                            <a16:creationId xmlns:a16="http://schemas.microsoft.com/office/drawing/2014/main" id="{A100C677-B418-4EDF-ABC6-CE08CDC695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 name="Google Shape;437;p8">
            <a:extLst>
              <a:ext uri="{FF2B5EF4-FFF2-40B4-BE49-F238E27FC236}">
                <a16:creationId xmlns:a16="http://schemas.microsoft.com/office/drawing/2014/main" id="{DFA3D236-3486-4F19-A7C5-E133BD55CE1C}"/>
              </a:ext>
            </a:extLst>
          </p:cNvPr>
          <p:cNvGrpSpPr/>
          <p:nvPr userDrawn="1"/>
        </p:nvGrpSpPr>
        <p:grpSpPr>
          <a:xfrm>
            <a:off x="-85616" y="5833206"/>
            <a:ext cx="12363231" cy="1214388"/>
            <a:chOff x="-45603" y="440026"/>
            <a:chExt cx="9272423" cy="910791"/>
          </a:xfrm>
        </p:grpSpPr>
        <p:sp>
          <p:nvSpPr>
            <p:cNvPr id="8" name="Google Shape;438;p8">
              <a:extLst>
                <a:ext uri="{FF2B5EF4-FFF2-40B4-BE49-F238E27FC236}">
                  <a16:creationId xmlns:a16="http://schemas.microsoft.com/office/drawing/2014/main" id="{52DDEDDC-15D2-4E4C-901E-42E502E2A8B1}"/>
                </a:ext>
              </a:extLst>
            </p:cNvPr>
            <p:cNvSpPr/>
            <p:nvPr/>
          </p:nvSpPr>
          <p:spPr>
            <a:xfrm>
              <a:off x="2176354" y="708034"/>
              <a:ext cx="281779" cy="397462"/>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9" name="Google Shape;439;p8">
              <a:extLst>
                <a:ext uri="{FF2B5EF4-FFF2-40B4-BE49-F238E27FC236}">
                  <a16:creationId xmlns:a16="http://schemas.microsoft.com/office/drawing/2014/main" id="{CA5C13E6-5A09-4E57-8AA5-E627EC086C2F}"/>
                </a:ext>
              </a:extLst>
            </p:cNvPr>
            <p:cNvSpPr/>
            <p:nvPr/>
          </p:nvSpPr>
          <p:spPr>
            <a:xfrm>
              <a:off x="552323" y="912340"/>
              <a:ext cx="339086" cy="309912"/>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0" name="Google Shape;440;p8">
              <a:extLst>
                <a:ext uri="{FF2B5EF4-FFF2-40B4-BE49-F238E27FC236}">
                  <a16:creationId xmlns:a16="http://schemas.microsoft.com/office/drawing/2014/main" id="{DAF7605A-6C97-4A29-A6C4-D0BCB41B7E04}"/>
                </a:ext>
              </a:extLst>
            </p:cNvPr>
            <p:cNvSpPr/>
            <p:nvPr/>
          </p:nvSpPr>
          <p:spPr>
            <a:xfrm rot="-2700000">
              <a:off x="4913658" y="470447"/>
              <a:ext cx="181249" cy="400170"/>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1" name="Google Shape;441;p8">
              <a:extLst>
                <a:ext uri="{FF2B5EF4-FFF2-40B4-BE49-F238E27FC236}">
                  <a16:creationId xmlns:a16="http://schemas.microsoft.com/office/drawing/2014/main" id="{95F694D8-E89D-4F85-B965-6ABB0FD294C9}"/>
                </a:ext>
              </a:extLst>
            </p:cNvPr>
            <p:cNvSpPr/>
            <p:nvPr/>
          </p:nvSpPr>
          <p:spPr>
            <a:xfrm rot="-1967309">
              <a:off x="27613" y="549243"/>
              <a:ext cx="142154" cy="312221"/>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2" name="Google Shape;442;p8">
              <a:extLst>
                <a:ext uri="{FF2B5EF4-FFF2-40B4-BE49-F238E27FC236}">
                  <a16:creationId xmlns:a16="http://schemas.microsoft.com/office/drawing/2014/main" id="{42F9A808-20E2-4D0D-BC85-EA2AD4EE89EA}"/>
                </a:ext>
              </a:extLst>
            </p:cNvPr>
            <p:cNvSpPr/>
            <p:nvPr/>
          </p:nvSpPr>
          <p:spPr>
            <a:xfrm>
              <a:off x="6508977" y="1054156"/>
              <a:ext cx="212880" cy="143991"/>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3" name="Google Shape;443;p8">
              <a:extLst>
                <a:ext uri="{FF2B5EF4-FFF2-40B4-BE49-F238E27FC236}">
                  <a16:creationId xmlns:a16="http://schemas.microsoft.com/office/drawing/2014/main" id="{0172F219-15C9-4DE3-85DB-880E95DE5D8E}"/>
                </a:ext>
              </a:extLst>
            </p:cNvPr>
            <p:cNvSpPr/>
            <p:nvPr/>
          </p:nvSpPr>
          <p:spPr>
            <a:xfrm>
              <a:off x="4683118" y="1001445"/>
              <a:ext cx="272854" cy="185024"/>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4" name="Google Shape;444;p8">
              <a:extLst>
                <a:ext uri="{FF2B5EF4-FFF2-40B4-BE49-F238E27FC236}">
                  <a16:creationId xmlns:a16="http://schemas.microsoft.com/office/drawing/2014/main" id="{59F8DCF2-19C0-4EC9-AB80-F9304608F1A7}"/>
                </a:ext>
              </a:extLst>
            </p:cNvPr>
            <p:cNvSpPr/>
            <p:nvPr/>
          </p:nvSpPr>
          <p:spPr>
            <a:xfrm rot="3663599">
              <a:off x="5966469" y="976075"/>
              <a:ext cx="204754" cy="377157"/>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5" name="Google Shape;445;p8">
              <a:extLst>
                <a:ext uri="{FF2B5EF4-FFF2-40B4-BE49-F238E27FC236}">
                  <a16:creationId xmlns:a16="http://schemas.microsoft.com/office/drawing/2014/main" id="{B918CB4E-9A2D-4280-B8D6-EAE731751A45}"/>
                </a:ext>
              </a:extLst>
            </p:cNvPr>
            <p:cNvSpPr/>
            <p:nvPr/>
          </p:nvSpPr>
          <p:spPr>
            <a:xfrm rot="-3368760">
              <a:off x="5437768" y="638636"/>
              <a:ext cx="351278" cy="93987"/>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6" name="Google Shape;446;p8">
              <a:extLst>
                <a:ext uri="{FF2B5EF4-FFF2-40B4-BE49-F238E27FC236}">
                  <a16:creationId xmlns:a16="http://schemas.microsoft.com/office/drawing/2014/main" id="{37435EF2-1CCA-4464-9F09-3ECBC1399B9C}"/>
                </a:ext>
              </a:extLst>
            </p:cNvPr>
            <p:cNvSpPr/>
            <p:nvPr/>
          </p:nvSpPr>
          <p:spPr>
            <a:xfrm rot="3013936">
              <a:off x="1856192" y="906044"/>
              <a:ext cx="112704" cy="289910"/>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7" name="Google Shape;447;p8">
              <a:extLst>
                <a:ext uri="{FF2B5EF4-FFF2-40B4-BE49-F238E27FC236}">
                  <a16:creationId xmlns:a16="http://schemas.microsoft.com/office/drawing/2014/main" id="{F7A74B35-E181-4700-99FD-FFD1E7C070B6}"/>
                </a:ext>
              </a:extLst>
            </p:cNvPr>
            <p:cNvSpPr/>
            <p:nvPr/>
          </p:nvSpPr>
          <p:spPr>
            <a:xfrm rot="2198047">
              <a:off x="3510054" y="793341"/>
              <a:ext cx="140231" cy="36705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8" name="Google Shape;448;p8">
              <a:extLst>
                <a:ext uri="{FF2B5EF4-FFF2-40B4-BE49-F238E27FC236}">
                  <a16:creationId xmlns:a16="http://schemas.microsoft.com/office/drawing/2014/main" id="{062EB108-DA8F-4CAA-A021-2FB10C1EC4F1}"/>
                </a:ext>
              </a:extLst>
            </p:cNvPr>
            <p:cNvSpPr/>
            <p:nvPr/>
          </p:nvSpPr>
          <p:spPr>
            <a:xfrm rot="9906392">
              <a:off x="7295836" y="1033664"/>
              <a:ext cx="191420" cy="182909"/>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19" name="Google Shape;449;p8">
              <a:extLst>
                <a:ext uri="{FF2B5EF4-FFF2-40B4-BE49-F238E27FC236}">
                  <a16:creationId xmlns:a16="http://schemas.microsoft.com/office/drawing/2014/main" id="{73D1FC50-BAC9-4E63-B3C2-BC7032F81AAD}"/>
                </a:ext>
              </a:extLst>
            </p:cNvPr>
            <p:cNvSpPr/>
            <p:nvPr/>
          </p:nvSpPr>
          <p:spPr>
            <a:xfrm>
              <a:off x="301831" y="611168"/>
              <a:ext cx="314135" cy="349552"/>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0" name="Google Shape;450;p8">
              <a:extLst>
                <a:ext uri="{FF2B5EF4-FFF2-40B4-BE49-F238E27FC236}">
                  <a16:creationId xmlns:a16="http://schemas.microsoft.com/office/drawing/2014/main" id="{5F9B7FB3-35F4-4CBE-A09C-F66F590CFFE8}"/>
                </a:ext>
              </a:extLst>
            </p:cNvPr>
            <p:cNvSpPr/>
            <p:nvPr/>
          </p:nvSpPr>
          <p:spPr>
            <a:xfrm>
              <a:off x="5200465" y="821938"/>
              <a:ext cx="313748" cy="356086"/>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1" name="Google Shape;451;p8">
              <a:extLst>
                <a:ext uri="{FF2B5EF4-FFF2-40B4-BE49-F238E27FC236}">
                  <a16:creationId xmlns:a16="http://schemas.microsoft.com/office/drawing/2014/main" id="{D916FBB6-384D-4771-8641-58BD9CD17907}"/>
                </a:ext>
              </a:extLst>
            </p:cNvPr>
            <p:cNvSpPr/>
            <p:nvPr/>
          </p:nvSpPr>
          <p:spPr>
            <a:xfrm rot="-988374">
              <a:off x="8793699" y="981136"/>
              <a:ext cx="395858" cy="320125"/>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2" name="Google Shape;452;p8">
              <a:extLst>
                <a:ext uri="{FF2B5EF4-FFF2-40B4-BE49-F238E27FC236}">
                  <a16:creationId xmlns:a16="http://schemas.microsoft.com/office/drawing/2014/main" id="{71BF65B1-EDAE-48BD-9611-9B3FAF80BFC6}"/>
                </a:ext>
              </a:extLst>
            </p:cNvPr>
            <p:cNvSpPr/>
            <p:nvPr/>
          </p:nvSpPr>
          <p:spPr>
            <a:xfrm rot="1179229">
              <a:off x="6978602" y="547675"/>
              <a:ext cx="347146" cy="378286"/>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3" name="Google Shape;453;p8">
              <a:extLst>
                <a:ext uri="{FF2B5EF4-FFF2-40B4-BE49-F238E27FC236}">
                  <a16:creationId xmlns:a16="http://schemas.microsoft.com/office/drawing/2014/main" id="{9BA01FEA-2993-4024-825B-1DB626CB98BB}"/>
                </a:ext>
              </a:extLst>
            </p:cNvPr>
            <p:cNvSpPr/>
            <p:nvPr/>
          </p:nvSpPr>
          <p:spPr>
            <a:xfrm>
              <a:off x="980841" y="910413"/>
              <a:ext cx="326644" cy="367792"/>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4" name="Google Shape;454;p8">
              <a:extLst>
                <a:ext uri="{FF2B5EF4-FFF2-40B4-BE49-F238E27FC236}">
                  <a16:creationId xmlns:a16="http://schemas.microsoft.com/office/drawing/2014/main" id="{99AD2AE6-9050-4889-82F2-C1419125FF29}"/>
                </a:ext>
              </a:extLst>
            </p:cNvPr>
            <p:cNvSpPr/>
            <p:nvPr/>
          </p:nvSpPr>
          <p:spPr>
            <a:xfrm>
              <a:off x="8699186" y="523462"/>
              <a:ext cx="403969" cy="323646"/>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5" name="Google Shape;455;p8">
              <a:extLst>
                <a:ext uri="{FF2B5EF4-FFF2-40B4-BE49-F238E27FC236}">
                  <a16:creationId xmlns:a16="http://schemas.microsoft.com/office/drawing/2014/main" id="{C57713A8-CEA2-47F3-BD43-6ADEB3FE868B}"/>
                </a:ext>
              </a:extLst>
            </p:cNvPr>
            <p:cNvSpPr/>
            <p:nvPr/>
          </p:nvSpPr>
          <p:spPr>
            <a:xfrm>
              <a:off x="6870722" y="1009504"/>
              <a:ext cx="256151" cy="229019"/>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6" name="Google Shape;456;p8">
              <a:extLst>
                <a:ext uri="{FF2B5EF4-FFF2-40B4-BE49-F238E27FC236}">
                  <a16:creationId xmlns:a16="http://schemas.microsoft.com/office/drawing/2014/main" id="{7E90AF16-2D94-4AA6-8F4F-BA951107600C}"/>
                </a:ext>
              </a:extLst>
            </p:cNvPr>
            <p:cNvSpPr/>
            <p:nvPr/>
          </p:nvSpPr>
          <p:spPr>
            <a:xfrm rot="-2424567">
              <a:off x="1204048" y="475241"/>
              <a:ext cx="211213" cy="278694"/>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27" name="Google Shape;457;p8">
              <a:extLst>
                <a:ext uri="{FF2B5EF4-FFF2-40B4-BE49-F238E27FC236}">
                  <a16:creationId xmlns:a16="http://schemas.microsoft.com/office/drawing/2014/main" id="{C9486BE3-4E3B-4C58-A77A-744CDAC1B7B6}"/>
                </a:ext>
              </a:extLst>
            </p:cNvPr>
            <p:cNvSpPr/>
            <p:nvPr/>
          </p:nvSpPr>
          <p:spPr>
            <a:xfrm>
              <a:off x="7556769" y="607048"/>
              <a:ext cx="402022" cy="236475"/>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28" name="Google Shape;458;p8">
              <a:extLst>
                <a:ext uri="{FF2B5EF4-FFF2-40B4-BE49-F238E27FC236}">
                  <a16:creationId xmlns:a16="http://schemas.microsoft.com/office/drawing/2014/main" id="{3C6F0935-C1C0-463D-A543-D7A18AF418BF}"/>
                </a:ext>
              </a:extLst>
            </p:cNvPr>
            <p:cNvGrpSpPr/>
            <p:nvPr/>
          </p:nvGrpSpPr>
          <p:grpSpPr>
            <a:xfrm rot="890855">
              <a:off x="3181660" y="515636"/>
              <a:ext cx="370663" cy="217580"/>
              <a:chOff x="1429156" y="1387535"/>
              <a:chExt cx="657769" cy="386112"/>
            </a:xfrm>
          </p:grpSpPr>
          <p:sp>
            <p:nvSpPr>
              <p:cNvPr id="65" name="Google Shape;459;p8">
                <a:extLst>
                  <a:ext uri="{FF2B5EF4-FFF2-40B4-BE49-F238E27FC236}">
                    <a16:creationId xmlns:a16="http://schemas.microsoft.com/office/drawing/2014/main" id="{398577B8-887D-49A3-BAB5-913FE53A8C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6" name="Google Shape;460;p8">
                <a:extLst>
                  <a:ext uri="{FF2B5EF4-FFF2-40B4-BE49-F238E27FC236}">
                    <a16:creationId xmlns:a16="http://schemas.microsoft.com/office/drawing/2014/main" id="{EFA2CCDF-E88F-49CB-8522-55A21ECFC218}"/>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9" name="Google Shape;461;p8">
              <a:extLst>
                <a:ext uri="{FF2B5EF4-FFF2-40B4-BE49-F238E27FC236}">
                  <a16:creationId xmlns:a16="http://schemas.microsoft.com/office/drawing/2014/main" id="{B70BC019-5B58-4937-8117-6773BDC0F1EF}"/>
                </a:ext>
              </a:extLst>
            </p:cNvPr>
            <p:cNvSpPr/>
            <p:nvPr/>
          </p:nvSpPr>
          <p:spPr>
            <a:xfrm rot="-2499483">
              <a:off x="4165391" y="919169"/>
              <a:ext cx="428994" cy="113072"/>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0" name="Google Shape;462;p8">
              <a:extLst>
                <a:ext uri="{FF2B5EF4-FFF2-40B4-BE49-F238E27FC236}">
                  <a16:creationId xmlns:a16="http://schemas.microsoft.com/office/drawing/2014/main" id="{037CE266-13C0-448C-A563-1454B36CFBA4}"/>
                </a:ext>
              </a:extLst>
            </p:cNvPr>
            <p:cNvSpPr/>
            <p:nvPr/>
          </p:nvSpPr>
          <p:spPr>
            <a:xfrm>
              <a:off x="674582" y="523294"/>
              <a:ext cx="375105" cy="294447"/>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31" name="Google Shape;463;p8">
              <a:extLst>
                <a:ext uri="{FF2B5EF4-FFF2-40B4-BE49-F238E27FC236}">
                  <a16:creationId xmlns:a16="http://schemas.microsoft.com/office/drawing/2014/main" id="{27EDFF7F-5034-4BC9-BE8B-3E6D7C6197BC}"/>
                </a:ext>
              </a:extLst>
            </p:cNvPr>
            <p:cNvGrpSpPr/>
            <p:nvPr/>
          </p:nvGrpSpPr>
          <p:grpSpPr>
            <a:xfrm>
              <a:off x="3707787" y="505390"/>
              <a:ext cx="212392" cy="256778"/>
              <a:chOff x="1010452" y="1144365"/>
              <a:chExt cx="376916" cy="455685"/>
            </a:xfrm>
          </p:grpSpPr>
          <p:sp>
            <p:nvSpPr>
              <p:cNvPr id="63" name="Google Shape;464;p8">
                <a:extLst>
                  <a:ext uri="{FF2B5EF4-FFF2-40B4-BE49-F238E27FC236}">
                    <a16:creationId xmlns:a16="http://schemas.microsoft.com/office/drawing/2014/main" id="{2FFF5DD8-0F93-4F46-AD24-11024FDF3236}"/>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4" name="Google Shape;465;p8">
                <a:extLst>
                  <a:ext uri="{FF2B5EF4-FFF2-40B4-BE49-F238E27FC236}">
                    <a16:creationId xmlns:a16="http://schemas.microsoft.com/office/drawing/2014/main" id="{747E638D-D925-4CD5-BA8E-12E806D795E9}"/>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32" name="Google Shape;466;p8">
              <a:extLst>
                <a:ext uri="{FF2B5EF4-FFF2-40B4-BE49-F238E27FC236}">
                  <a16:creationId xmlns:a16="http://schemas.microsoft.com/office/drawing/2014/main" id="{4DFA9240-E771-4987-974F-DCEF5FC6723C}"/>
                </a:ext>
              </a:extLst>
            </p:cNvPr>
            <p:cNvSpPr/>
            <p:nvPr/>
          </p:nvSpPr>
          <p:spPr>
            <a:xfrm rot="-1100489">
              <a:off x="8420309" y="672386"/>
              <a:ext cx="223722" cy="226855"/>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3" name="Google Shape;467;p8">
              <a:extLst>
                <a:ext uri="{FF2B5EF4-FFF2-40B4-BE49-F238E27FC236}">
                  <a16:creationId xmlns:a16="http://schemas.microsoft.com/office/drawing/2014/main" id="{5FE706DA-1126-4F4C-8BBA-DC7AC43A2500}"/>
                </a:ext>
              </a:extLst>
            </p:cNvPr>
            <p:cNvSpPr/>
            <p:nvPr/>
          </p:nvSpPr>
          <p:spPr>
            <a:xfrm>
              <a:off x="3572521" y="981550"/>
              <a:ext cx="255529" cy="288428"/>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4" name="Google Shape;468;p8">
              <a:extLst>
                <a:ext uri="{FF2B5EF4-FFF2-40B4-BE49-F238E27FC236}">
                  <a16:creationId xmlns:a16="http://schemas.microsoft.com/office/drawing/2014/main" id="{663F8069-EBEA-4D62-B798-7843177FF1CB}"/>
                </a:ext>
              </a:extLst>
            </p:cNvPr>
            <p:cNvSpPr/>
            <p:nvPr/>
          </p:nvSpPr>
          <p:spPr>
            <a:xfrm rot="1800079">
              <a:off x="8229930" y="1002016"/>
              <a:ext cx="198020" cy="248076"/>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5" name="Google Shape;469;p8">
              <a:extLst>
                <a:ext uri="{FF2B5EF4-FFF2-40B4-BE49-F238E27FC236}">
                  <a16:creationId xmlns:a16="http://schemas.microsoft.com/office/drawing/2014/main" id="{6D8D561E-D592-4F4A-A43C-EC6417F3F195}"/>
                </a:ext>
              </a:extLst>
            </p:cNvPr>
            <p:cNvSpPr/>
            <p:nvPr/>
          </p:nvSpPr>
          <p:spPr>
            <a:xfrm>
              <a:off x="3943429" y="927518"/>
              <a:ext cx="163399" cy="25729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6" name="Google Shape;470;p8">
              <a:extLst>
                <a:ext uri="{FF2B5EF4-FFF2-40B4-BE49-F238E27FC236}">
                  <a16:creationId xmlns:a16="http://schemas.microsoft.com/office/drawing/2014/main" id="{A2209A31-DFA2-4D5E-AC37-61A897B80BA2}"/>
                </a:ext>
              </a:extLst>
            </p:cNvPr>
            <p:cNvSpPr/>
            <p:nvPr/>
          </p:nvSpPr>
          <p:spPr>
            <a:xfrm>
              <a:off x="4038156" y="505004"/>
              <a:ext cx="340006" cy="361563"/>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7" name="Google Shape;471;p8">
              <a:extLst>
                <a:ext uri="{FF2B5EF4-FFF2-40B4-BE49-F238E27FC236}">
                  <a16:creationId xmlns:a16="http://schemas.microsoft.com/office/drawing/2014/main" id="{5129EA7F-C30F-425A-947A-D527198CD2FD}"/>
                </a:ext>
              </a:extLst>
            </p:cNvPr>
            <p:cNvSpPr/>
            <p:nvPr/>
          </p:nvSpPr>
          <p:spPr>
            <a:xfrm>
              <a:off x="2854633" y="688547"/>
              <a:ext cx="416637" cy="259709"/>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8" name="Google Shape;472;p8">
              <a:extLst>
                <a:ext uri="{FF2B5EF4-FFF2-40B4-BE49-F238E27FC236}">
                  <a16:creationId xmlns:a16="http://schemas.microsoft.com/office/drawing/2014/main" id="{5881CFEE-ADE8-48E5-AB7C-68CB9039AA11}"/>
                </a:ext>
              </a:extLst>
            </p:cNvPr>
            <p:cNvSpPr/>
            <p:nvPr/>
          </p:nvSpPr>
          <p:spPr>
            <a:xfrm rot="-1252057">
              <a:off x="6497159" y="534061"/>
              <a:ext cx="204722" cy="302187"/>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39" name="Google Shape;473;p8">
              <a:extLst>
                <a:ext uri="{FF2B5EF4-FFF2-40B4-BE49-F238E27FC236}">
                  <a16:creationId xmlns:a16="http://schemas.microsoft.com/office/drawing/2014/main" id="{69E898E1-6FA4-4718-AFF7-3DC996848B50}"/>
                </a:ext>
              </a:extLst>
            </p:cNvPr>
            <p:cNvSpPr/>
            <p:nvPr/>
          </p:nvSpPr>
          <p:spPr>
            <a:xfrm>
              <a:off x="2537776" y="539860"/>
              <a:ext cx="230803" cy="290180"/>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0" name="Google Shape;474;p8">
              <a:extLst>
                <a:ext uri="{FF2B5EF4-FFF2-40B4-BE49-F238E27FC236}">
                  <a16:creationId xmlns:a16="http://schemas.microsoft.com/office/drawing/2014/main" id="{F154A736-934B-41BD-A76B-8E0C52C1AE46}"/>
                </a:ext>
              </a:extLst>
            </p:cNvPr>
            <p:cNvSpPr/>
            <p:nvPr/>
          </p:nvSpPr>
          <p:spPr>
            <a:xfrm>
              <a:off x="5713194" y="743996"/>
              <a:ext cx="256984" cy="24403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1" name="Google Shape;475;p8">
              <a:extLst>
                <a:ext uri="{FF2B5EF4-FFF2-40B4-BE49-F238E27FC236}">
                  <a16:creationId xmlns:a16="http://schemas.microsoft.com/office/drawing/2014/main" id="{C3AC04FE-8671-498F-828D-203CBC0BB635}"/>
                </a:ext>
              </a:extLst>
            </p:cNvPr>
            <p:cNvSpPr/>
            <p:nvPr/>
          </p:nvSpPr>
          <p:spPr>
            <a:xfrm>
              <a:off x="2507283" y="945803"/>
              <a:ext cx="99390" cy="211075"/>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2" name="Google Shape;476;p8">
              <a:extLst>
                <a:ext uri="{FF2B5EF4-FFF2-40B4-BE49-F238E27FC236}">
                  <a16:creationId xmlns:a16="http://schemas.microsoft.com/office/drawing/2014/main" id="{63F18C92-17B7-43A5-A68C-C450B779DADC}"/>
                </a:ext>
              </a:extLst>
            </p:cNvPr>
            <p:cNvSpPr/>
            <p:nvPr/>
          </p:nvSpPr>
          <p:spPr>
            <a:xfrm>
              <a:off x="8045390" y="829868"/>
              <a:ext cx="135793" cy="114511"/>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3" name="Google Shape;477;p8">
              <a:extLst>
                <a:ext uri="{FF2B5EF4-FFF2-40B4-BE49-F238E27FC236}">
                  <a16:creationId xmlns:a16="http://schemas.microsoft.com/office/drawing/2014/main" id="{417EB980-32D0-4DC4-A6C4-7E6D846EC924}"/>
                </a:ext>
              </a:extLst>
            </p:cNvPr>
            <p:cNvSpPr/>
            <p:nvPr/>
          </p:nvSpPr>
          <p:spPr>
            <a:xfrm>
              <a:off x="5019180" y="1018026"/>
              <a:ext cx="99190" cy="9853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4" name="Google Shape;478;p8">
              <a:extLst>
                <a:ext uri="{FF2B5EF4-FFF2-40B4-BE49-F238E27FC236}">
                  <a16:creationId xmlns:a16="http://schemas.microsoft.com/office/drawing/2014/main" id="{381163EF-7629-4CFF-B559-9851352F5ACF}"/>
                </a:ext>
              </a:extLst>
            </p:cNvPr>
            <p:cNvSpPr/>
            <p:nvPr/>
          </p:nvSpPr>
          <p:spPr>
            <a:xfrm rot="9301126">
              <a:off x="6297718" y="732778"/>
              <a:ext cx="123698" cy="266216"/>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5" name="Google Shape;479;p8">
              <a:extLst>
                <a:ext uri="{FF2B5EF4-FFF2-40B4-BE49-F238E27FC236}">
                  <a16:creationId xmlns:a16="http://schemas.microsoft.com/office/drawing/2014/main" id="{0F50E663-39E1-4AD0-93A3-1908DAE033F1}"/>
                </a:ext>
              </a:extLst>
            </p:cNvPr>
            <p:cNvSpPr/>
            <p:nvPr/>
          </p:nvSpPr>
          <p:spPr>
            <a:xfrm>
              <a:off x="1756780" y="575182"/>
              <a:ext cx="134585" cy="137354"/>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6" name="Google Shape;480;p8">
              <a:extLst>
                <a:ext uri="{FF2B5EF4-FFF2-40B4-BE49-F238E27FC236}">
                  <a16:creationId xmlns:a16="http://schemas.microsoft.com/office/drawing/2014/main" id="{71494E0A-A727-4295-A68E-7B51FCE149E5}"/>
                </a:ext>
              </a:extLst>
            </p:cNvPr>
            <p:cNvSpPr/>
            <p:nvPr/>
          </p:nvSpPr>
          <p:spPr>
            <a:xfrm>
              <a:off x="4716478" y="737980"/>
              <a:ext cx="145419" cy="160635"/>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7" name="Google Shape;481;p8">
              <a:extLst>
                <a:ext uri="{FF2B5EF4-FFF2-40B4-BE49-F238E27FC236}">
                  <a16:creationId xmlns:a16="http://schemas.microsoft.com/office/drawing/2014/main" id="{631DB046-E1DA-46FF-B77D-914F220E12DF}"/>
                </a:ext>
              </a:extLst>
            </p:cNvPr>
            <p:cNvSpPr/>
            <p:nvPr/>
          </p:nvSpPr>
          <p:spPr>
            <a:xfrm>
              <a:off x="1639378" y="819333"/>
              <a:ext cx="126045" cy="135687"/>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8" name="Google Shape;482;p8">
              <a:extLst>
                <a:ext uri="{FF2B5EF4-FFF2-40B4-BE49-F238E27FC236}">
                  <a16:creationId xmlns:a16="http://schemas.microsoft.com/office/drawing/2014/main" id="{6C3F2E69-7F19-4BB4-9196-BC1986750B11}"/>
                </a:ext>
              </a:extLst>
            </p:cNvPr>
            <p:cNvSpPr/>
            <p:nvPr/>
          </p:nvSpPr>
          <p:spPr>
            <a:xfrm>
              <a:off x="8172573" y="555140"/>
              <a:ext cx="115263" cy="15729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49" name="Google Shape;483;p8">
              <a:extLst>
                <a:ext uri="{FF2B5EF4-FFF2-40B4-BE49-F238E27FC236}">
                  <a16:creationId xmlns:a16="http://schemas.microsoft.com/office/drawing/2014/main" id="{9B2453D0-FA03-4643-84F5-9E3C91A5CBC8}"/>
                </a:ext>
              </a:extLst>
            </p:cNvPr>
            <p:cNvSpPr/>
            <p:nvPr/>
          </p:nvSpPr>
          <p:spPr>
            <a:xfrm>
              <a:off x="4481735" y="547509"/>
              <a:ext cx="87093" cy="153839"/>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0" name="Google Shape;484;p8">
              <a:extLst>
                <a:ext uri="{FF2B5EF4-FFF2-40B4-BE49-F238E27FC236}">
                  <a16:creationId xmlns:a16="http://schemas.microsoft.com/office/drawing/2014/main" id="{9807AEC3-39CD-4D14-B42A-CD3D9393FE2E}"/>
                </a:ext>
              </a:extLst>
            </p:cNvPr>
            <p:cNvSpPr/>
            <p:nvPr/>
          </p:nvSpPr>
          <p:spPr>
            <a:xfrm>
              <a:off x="2048182" y="505004"/>
              <a:ext cx="126077" cy="173483"/>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1" name="Google Shape;485;p8">
              <a:extLst>
                <a:ext uri="{FF2B5EF4-FFF2-40B4-BE49-F238E27FC236}">
                  <a16:creationId xmlns:a16="http://schemas.microsoft.com/office/drawing/2014/main" id="{796D8525-F78B-4E8E-B835-32B685225339}"/>
                </a:ext>
              </a:extLst>
            </p:cNvPr>
            <p:cNvSpPr/>
            <p:nvPr/>
          </p:nvSpPr>
          <p:spPr>
            <a:xfrm>
              <a:off x="126658" y="1006747"/>
              <a:ext cx="126356" cy="163706"/>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2" name="Google Shape;486;p8">
              <a:extLst>
                <a:ext uri="{FF2B5EF4-FFF2-40B4-BE49-F238E27FC236}">
                  <a16:creationId xmlns:a16="http://schemas.microsoft.com/office/drawing/2014/main" id="{1ED48132-0E3B-4C9F-8080-7B4FB0379E28}"/>
                </a:ext>
              </a:extLst>
            </p:cNvPr>
            <p:cNvGrpSpPr/>
            <p:nvPr/>
          </p:nvGrpSpPr>
          <p:grpSpPr>
            <a:xfrm>
              <a:off x="7836651" y="987182"/>
              <a:ext cx="121750" cy="155749"/>
              <a:chOff x="6422295" y="3351500"/>
              <a:chExt cx="252856" cy="323399"/>
            </a:xfrm>
          </p:grpSpPr>
          <p:sp>
            <p:nvSpPr>
              <p:cNvPr id="61" name="Google Shape;487;p8">
                <a:extLst>
                  <a:ext uri="{FF2B5EF4-FFF2-40B4-BE49-F238E27FC236}">
                    <a16:creationId xmlns:a16="http://schemas.microsoft.com/office/drawing/2014/main" id="{865D144E-115E-4C0F-858B-7AD446047D5F}"/>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2" name="Google Shape;488;p8">
                <a:extLst>
                  <a:ext uri="{FF2B5EF4-FFF2-40B4-BE49-F238E27FC236}">
                    <a16:creationId xmlns:a16="http://schemas.microsoft.com/office/drawing/2014/main" id="{FBDD473D-941E-49C0-95D2-5368D36472F6}"/>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3" name="Google Shape;489;p8">
              <a:extLst>
                <a:ext uri="{FF2B5EF4-FFF2-40B4-BE49-F238E27FC236}">
                  <a16:creationId xmlns:a16="http://schemas.microsoft.com/office/drawing/2014/main" id="{2CFDE35F-9C93-41AA-AF39-B673BE122D10}"/>
                </a:ext>
              </a:extLst>
            </p:cNvPr>
            <p:cNvSpPr/>
            <p:nvPr/>
          </p:nvSpPr>
          <p:spPr>
            <a:xfrm>
              <a:off x="1353734" y="881315"/>
              <a:ext cx="187420" cy="190001"/>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4" name="Google Shape;490;p8">
              <a:extLst>
                <a:ext uri="{FF2B5EF4-FFF2-40B4-BE49-F238E27FC236}">
                  <a16:creationId xmlns:a16="http://schemas.microsoft.com/office/drawing/2014/main" id="{205D0610-BF1E-4924-B2BC-5F952001F3CA}"/>
                </a:ext>
              </a:extLst>
            </p:cNvPr>
            <p:cNvSpPr/>
            <p:nvPr/>
          </p:nvSpPr>
          <p:spPr>
            <a:xfrm>
              <a:off x="6088369" y="586056"/>
              <a:ext cx="149720" cy="115699"/>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nvGrpSpPr>
            <p:cNvPr id="55" name="Google Shape;491;p8">
              <a:extLst>
                <a:ext uri="{FF2B5EF4-FFF2-40B4-BE49-F238E27FC236}">
                  <a16:creationId xmlns:a16="http://schemas.microsoft.com/office/drawing/2014/main" id="{644799B6-39C4-4EDA-90F6-B1BA328AF112}"/>
                </a:ext>
              </a:extLst>
            </p:cNvPr>
            <p:cNvGrpSpPr/>
            <p:nvPr/>
          </p:nvGrpSpPr>
          <p:grpSpPr>
            <a:xfrm>
              <a:off x="3137402" y="1006079"/>
              <a:ext cx="129429" cy="165162"/>
              <a:chOff x="6793660" y="3322411"/>
              <a:chExt cx="268804" cy="342944"/>
            </a:xfrm>
          </p:grpSpPr>
          <p:sp>
            <p:nvSpPr>
              <p:cNvPr id="58" name="Google Shape;492;p8">
                <a:extLst>
                  <a:ext uri="{FF2B5EF4-FFF2-40B4-BE49-F238E27FC236}">
                    <a16:creationId xmlns:a16="http://schemas.microsoft.com/office/drawing/2014/main" id="{DA90D220-A61A-410A-82F9-F4435DFF17D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9" name="Google Shape;493;p8">
                <a:extLst>
                  <a:ext uri="{FF2B5EF4-FFF2-40B4-BE49-F238E27FC236}">
                    <a16:creationId xmlns:a16="http://schemas.microsoft.com/office/drawing/2014/main" id="{9207D843-5CE4-4D01-AACF-727765A8CE11}"/>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60" name="Google Shape;494;p8">
                <a:extLst>
                  <a:ext uri="{FF2B5EF4-FFF2-40B4-BE49-F238E27FC236}">
                    <a16:creationId xmlns:a16="http://schemas.microsoft.com/office/drawing/2014/main" id="{3B7AA49C-B52E-45C3-B4F0-5DB3CE9ACE95}"/>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56" name="Google Shape;495;p8">
              <a:extLst>
                <a:ext uri="{FF2B5EF4-FFF2-40B4-BE49-F238E27FC236}">
                  <a16:creationId xmlns:a16="http://schemas.microsoft.com/office/drawing/2014/main" id="{6F723D16-9CA1-4043-8ACE-CDD24A84CAAE}"/>
                </a:ext>
              </a:extLst>
            </p:cNvPr>
            <p:cNvSpPr/>
            <p:nvPr/>
          </p:nvSpPr>
          <p:spPr>
            <a:xfrm>
              <a:off x="2776508" y="1006744"/>
              <a:ext cx="212021" cy="115156"/>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sp>
          <p:nvSpPr>
            <p:cNvPr id="57" name="Google Shape;496;p8">
              <a:extLst>
                <a:ext uri="{FF2B5EF4-FFF2-40B4-BE49-F238E27FC236}">
                  <a16:creationId xmlns:a16="http://schemas.microsoft.com/office/drawing/2014/main" id="{C4E55DC9-07C5-4BD4-87D7-ECDF770DF217}"/>
                </a:ext>
              </a:extLst>
            </p:cNvPr>
            <p:cNvSpPr/>
            <p:nvPr/>
          </p:nvSpPr>
          <p:spPr>
            <a:xfrm rot="1466637">
              <a:off x="5246242" y="579297"/>
              <a:ext cx="132710" cy="129208"/>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rgbClr val="30485C">
                <a:alpha val="20110"/>
              </a:srgb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2400">
                <a:solidFill>
                  <a:srgbClr val="000000"/>
                </a:solidFill>
                <a:latin typeface="Short Stack"/>
                <a:ea typeface="Short Stack"/>
                <a:cs typeface="Short Stack"/>
                <a:sym typeface="Short Stack"/>
              </a:endParaRPr>
            </a:p>
          </p:txBody>
        </p:sp>
      </p:grpSp>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180183710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BB53CDE-9890-4DBB-BE92-8111C65D2AE8}"/>
              </a:ext>
            </a:extLst>
          </p:cNvPr>
          <p:cNvGraphicFramePr>
            <a:graphicFrameLocks noChangeAspect="1"/>
          </p:cNvGraphicFramePr>
          <p:nvPr userDrawn="1">
            <p:custDataLst>
              <p:tags r:id="rId1"/>
            </p:custDataLst>
            <p:extLst>
              <p:ext uri="{D42A27DB-BD31-4B8C-83A1-F6EECF244321}">
                <p14:modId xmlns:p14="http://schemas.microsoft.com/office/powerpoint/2010/main" val="1767268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BB53CDE-9890-4DBB-BE92-8111C65D2A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18.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8583089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166A539-0101-4A82-B9C3-F577CEB05A9E}"/>
              </a:ext>
            </a:extLst>
          </p:cNvPr>
          <p:cNvGraphicFramePr>
            <a:graphicFrameLocks noChangeAspect="1"/>
          </p:cNvGraphicFramePr>
          <p:nvPr userDrawn="1">
            <p:custDataLst>
              <p:tags r:id="rId1"/>
            </p:custDataLst>
            <p:extLst>
              <p:ext uri="{D42A27DB-BD31-4B8C-83A1-F6EECF244321}">
                <p14:modId xmlns:p14="http://schemas.microsoft.com/office/powerpoint/2010/main" val="1103716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166A539-0101-4A82-B9C3-F577CEB05A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18.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Tree>
    <p:extLst>
      <p:ext uri="{BB962C8B-B14F-4D97-AF65-F5344CB8AC3E}">
        <p14:creationId xmlns:p14="http://schemas.microsoft.com/office/powerpoint/2010/main" val="13597342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5A44A42-9A21-496B-8550-E0C5720EF5BA}"/>
              </a:ext>
            </a:extLst>
          </p:cNvPr>
          <p:cNvGraphicFramePr>
            <a:graphicFrameLocks noChangeAspect="1"/>
          </p:cNvGraphicFramePr>
          <p:nvPr userDrawn="1">
            <p:custDataLst>
              <p:tags r:id="rId1"/>
            </p:custDataLst>
            <p:extLst>
              <p:ext uri="{D42A27DB-BD31-4B8C-83A1-F6EECF244321}">
                <p14:modId xmlns:p14="http://schemas.microsoft.com/office/powerpoint/2010/main" val="2239372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C5A44A42-9A21-496B-8550-E0C5720EF5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18.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9429470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DF22F3-2934-407B-B386-5E19FC8C9F3E}"/>
              </a:ext>
            </a:extLst>
          </p:cNvPr>
          <p:cNvGraphicFramePr>
            <a:graphicFrameLocks noChangeAspect="1"/>
          </p:cNvGraphicFramePr>
          <p:nvPr userDrawn="1">
            <p:custDataLst>
              <p:tags r:id="rId1"/>
            </p:custDataLst>
            <p:extLst>
              <p:ext uri="{D42A27DB-BD31-4B8C-83A1-F6EECF244321}">
                <p14:modId xmlns:p14="http://schemas.microsoft.com/office/powerpoint/2010/main" val="1139108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9DF22F3-2934-407B-B386-5E19FC8C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18.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0155002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B59735-DCF7-4C85-B703-F0D90F8EA2BD}"/>
              </a:ext>
            </a:extLst>
          </p:cNvPr>
          <p:cNvGraphicFramePr>
            <a:graphicFrameLocks noChangeAspect="1"/>
          </p:cNvGraphicFramePr>
          <p:nvPr userDrawn="1">
            <p:custDataLst>
              <p:tags r:id="rId1"/>
            </p:custDataLst>
            <p:extLst>
              <p:ext uri="{D42A27DB-BD31-4B8C-83A1-F6EECF244321}">
                <p14:modId xmlns:p14="http://schemas.microsoft.com/office/powerpoint/2010/main" val="3913615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FB59735-DCF7-4C85-B703-F0D90F8EA2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799866313"/>
      </p:ext>
    </p:extLst>
  </p:cSld>
  <p:clrMapOvr>
    <a:overrideClrMapping bg1="dk1" tx1="lt1" bg2="dk2" tx2="lt2" accent1="accent1" accent2="accent2" accent3="accent3" accent4="accent4" accent5="accent5" accent6="accent6" hlink="hlink" folHlink="folHlink"/>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00ADF0-CFE3-4E1E-A6F1-50578BEF7A5A}"/>
              </a:ext>
            </a:extLst>
          </p:cNvPr>
          <p:cNvGraphicFramePr>
            <a:graphicFrameLocks noChangeAspect="1"/>
          </p:cNvGraphicFramePr>
          <p:nvPr userDrawn="1">
            <p:custDataLst>
              <p:tags r:id="rId1"/>
            </p:custDataLst>
            <p:extLst>
              <p:ext uri="{D42A27DB-BD31-4B8C-83A1-F6EECF244321}">
                <p14:modId xmlns:p14="http://schemas.microsoft.com/office/powerpoint/2010/main" val="518735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8B00ADF0-CFE3-4E1E-A6F1-50578BEF7A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209672871"/>
      </p:ext>
    </p:extLst>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05142B-6D8F-49A5-8C11-B0866A0D6D5F}"/>
              </a:ext>
            </a:extLst>
          </p:cNvPr>
          <p:cNvGraphicFramePr>
            <a:graphicFrameLocks noChangeAspect="1"/>
          </p:cNvGraphicFramePr>
          <p:nvPr userDrawn="1">
            <p:custDataLst>
              <p:tags r:id="rId1"/>
            </p:custDataLst>
            <p:extLst>
              <p:ext uri="{D42A27DB-BD31-4B8C-83A1-F6EECF244321}">
                <p14:modId xmlns:p14="http://schemas.microsoft.com/office/powerpoint/2010/main" val="1013710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705142B-6D8F-49A5-8C11-B0866A0D6D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464205823"/>
      </p:ext>
    </p:extLst>
  </p:cSld>
  <p:clrMapOvr>
    <a:overrideClrMapping bg1="lt1" tx1="dk1" bg2="lt2" tx2="dk2" accent1="accent1" accent2="accent2" accent3="accent3" accent4="accent4" accent5="accent5" accent6="accent6" hlink="hlink" folHlink="folHlink"/>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FEFBFFD-CEF3-49D8-9E2C-F36F01EA735A}"/>
              </a:ext>
            </a:extLst>
          </p:cNvPr>
          <p:cNvGraphicFramePr>
            <a:graphicFrameLocks noChangeAspect="1"/>
          </p:cNvGraphicFramePr>
          <p:nvPr userDrawn="1">
            <p:custDataLst>
              <p:tags r:id="rId1"/>
            </p:custDataLst>
            <p:extLst>
              <p:ext uri="{D42A27DB-BD31-4B8C-83A1-F6EECF244321}">
                <p14:modId xmlns:p14="http://schemas.microsoft.com/office/powerpoint/2010/main" val="1308296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FEFBFFD-CEF3-49D8-9E2C-F36F01EA73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1468074775"/>
      </p:ext>
    </p:extLst>
  </p:cSld>
  <p:clrMapOvr>
    <a:overrideClrMapping bg1="dk1" tx1="lt1" bg2="dk2" tx2="lt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C198CB-AAA7-4F5B-A35F-DE9960E6AC38}"/>
              </a:ext>
            </a:extLst>
          </p:cNvPr>
          <p:cNvGraphicFramePr>
            <a:graphicFrameLocks noChangeAspect="1"/>
          </p:cNvGraphicFramePr>
          <p:nvPr userDrawn="1">
            <p:custDataLst>
              <p:tags r:id="rId1"/>
            </p:custDataLst>
            <p:extLst>
              <p:ext uri="{D42A27DB-BD31-4B8C-83A1-F6EECF244321}">
                <p14:modId xmlns:p14="http://schemas.microsoft.com/office/powerpoint/2010/main" val="1305316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F2C198CB-AAA7-4F5B-A35F-DE9960E6AC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2101826671"/>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3CADD21-FA21-4BEC-9BE4-76FA96D63047}"/>
              </a:ext>
            </a:extLst>
          </p:cNvPr>
          <p:cNvGraphicFramePr>
            <a:graphicFrameLocks noChangeAspect="1"/>
          </p:cNvGraphicFramePr>
          <p:nvPr userDrawn="1">
            <p:custDataLst>
              <p:tags r:id="rId1"/>
            </p:custDataLst>
            <p:extLst>
              <p:ext uri="{D42A27DB-BD31-4B8C-83A1-F6EECF244321}">
                <p14:modId xmlns:p14="http://schemas.microsoft.com/office/powerpoint/2010/main" val="137046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C3CADD21-FA21-4BEC-9BE4-76FA96D630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18.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649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CB6B6B-24B0-44AB-9048-2F686A564E91}"/>
              </a:ext>
            </a:extLst>
          </p:cNvPr>
          <p:cNvGraphicFramePr>
            <a:graphicFrameLocks noChangeAspect="1"/>
          </p:cNvGraphicFramePr>
          <p:nvPr userDrawn="1">
            <p:custDataLst>
              <p:tags r:id="rId1"/>
            </p:custDataLst>
            <p:extLst>
              <p:ext uri="{D42A27DB-BD31-4B8C-83A1-F6EECF244321}">
                <p14:modId xmlns:p14="http://schemas.microsoft.com/office/powerpoint/2010/main" val="957079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FCB6B6B-24B0-44AB-9048-2F686A564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88701528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EBB3B6D-DD31-4C13-AD80-04ABEA8E27A0}"/>
              </a:ext>
            </a:extLst>
          </p:cNvPr>
          <p:cNvGraphicFramePr>
            <a:graphicFrameLocks noChangeAspect="1"/>
          </p:cNvGraphicFramePr>
          <p:nvPr userDrawn="1">
            <p:custDataLst>
              <p:tags r:id="rId1"/>
            </p:custDataLst>
            <p:extLst>
              <p:ext uri="{D42A27DB-BD31-4B8C-83A1-F6EECF244321}">
                <p14:modId xmlns:p14="http://schemas.microsoft.com/office/powerpoint/2010/main" val="332558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6EBB3B6D-DD31-4C13-AD80-04ABEA8E27A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18.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65976985"/>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617" y="409475"/>
            <a:ext cx="9774384"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616" y="1139481"/>
            <a:ext cx="9773924"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9" name="Slide Number Placeholder 5"/>
          <p:cNvSpPr>
            <a:spLocks noGrp="1"/>
          </p:cNvSpPr>
          <p:nvPr>
            <p:ph type="sldNum" sz="quarter" idx="4"/>
          </p:nvPr>
        </p:nvSpPr>
        <p:spPr>
          <a:xfrm>
            <a:off x="10908620" y="6283328"/>
            <a:ext cx="480001" cy="155575"/>
          </a:xfrm>
          <a:prstGeom prst="rect">
            <a:avLst/>
          </a:prstGeom>
        </p:spPr>
        <p:txBody>
          <a:bodyPr vert="horz" wrap="square" lIns="0" tIns="0" rIns="0" bIns="0" numCol="1" anchor="ctr" anchorCtr="0" compatLnSpc="1">
            <a:prstTxWarp prst="textNoShape">
              <a:avLst/>
            </a:prstTxWarp>
          </a:bodyPr>
          <a:lstStyle>
            <a:lvl1pPr algn="r">
              <a:defRPr sz="257">
                <a:solidFill>
                  <a:schemeClr val="tx1"/>
                </a:solidFill>
              </a:defRPr>
            </a:lvl1pPr>
          </a:lstStyle>
          <a:p>
            <a:fld id="{31421AFA-3AE7-4CEA-BC9B-447859BED57B}" type="slidenum">
              <a:rPr lang="en-GB" smtClean="0"/>
              <a:pPr/>
              <a:t>‹nr.›</a:t>
            </a:fld>
            <a:endParaRPr lang="en-GB"/>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13F78D9-42B8-43DD-B9D4-11FA41011F45}" type="datetime1">
              <a:rPr lang="en-GB" smtClean="0"/>
              <a:t>18/06/2024</a:t>
            </a:fld>
            <a:endParaRPr lang="en-GB"/>
          </a:p>
        </p:txBody>
      </p:sp>
      <p:grpSp>
        <p:nvGrpSpPr>
          <p:cNvPr id="13" name="Group 12">
            <a:extLst>
              <a:ext uri="{FF2B5EF4-FFF2-40B4-BE49-F238E27FC236}">
                <a16:creationId xmlns:a16="http://schemas.microsoft.com/office/drawing/2014/main" id="{8CA71D2E-512F-4EB0-AAF9-E4FEBA858101}"/>
              </a:ext>
            </a:extLst>
          </p:cNvPr>
          <p:cNvGrpSpPr/>
          <p:nvPr userDrawn="1"/>
        </p:nvGrpSpPr>
        <p:grpSpPr>
          <a:xfrm>
            <a:off x="-1972350" y="1633992"/>
            <a:ext cx="1797025" cy="2906915"/>
            <a:chOff x="-1899137" y="-1"/>
            <a:chExt cx="1796791" cy="2907588"/>
          </a:xfrm>
        </p:grpSpPr>
        <p:grpSp>
          <p:nvGrpSpPr>
            <p:cNvPr id="14" name="Group 13">
              <a:extLst>
                <a:ext uri="{FF2B5EF4-FFF2-40B4-BE49-F238E27FC236}">
                  <a16:creationId xmlns:a16="http://schemas.microsoft.com/office/drawing/2014/main" id="{8404ACBE-98F7-42FA-B2C4-2BDACC351B5F}"/>
                </a:ext>
              </a:extLst>
            </p:cNvPr>
            <p:cNvGrpSpPr/>
            <p:nvPr userDrawn="1"/>
          </p:nvGrpSpPr>
          <p:grpSpPr>
            <a:xfrm>
              <a:off x="-1899137" y="-1"/>
              <a:ext cx="1796791" cy="2907588"/>
              <a:chOff x="9009867" y="1645032"/>
              <a:chExt cx="2365739" cy="3828268"/>
            </a:xfrm>
          </p:grpSpPr>
          <p:pic>
            <p:nvPicPr>
              <p:cNvPr id="16" name="Picture 15">
                <a:extLst>
                  <a:ext uri="{FF2B5EF4-FFF2-40B4-BE49-F238E27FC236}">
                    <a16:creationId xmlns:a16="http://schemas.microsoft.com/office/drawing/2014/main" id="{7674FC44-6BF9-46ED-9900-58E4FF056204}"/>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7" name="TextBox 16">
                <a:extLst>
                  <a:ext uri="{FF2B5EF4-FFF2-40B4-BE49-F238E27FC236}">
                    <a16:creationId xmlns:a16="http://schemas.microsoft.com/office/drawing/2014/main" id="{D5F5BB9B-F1EC-45D9-9CB7-D11256272499}"/>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8543A725-2ECD-475C-B8F2-4B95DD799F0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5D058906-F75B-403B-B22D-B41549B2401D}"/>
                </a:ext>
              </a:extLst>
            </p:cNvPr>
            <p:cNvPicPr>
              <a:picLocks noChangeAspect="1"/>
            </p:cNvPicPr>
            <p:nvPr userDrawn="1"/>
          </p:nvPicPr>
          <p:blipFill>
            <a:blip r:embed="rId3"/>
            <a:stretch>
              <a:fillRect/>
            </a:stretch>
          </p:blipFill>
          <p:spPr>
            <a:xfrm>
              <a:off x="-1884053" y="1200637"/>
              <a:ext cx="1418614" cy="1444137"/>
            </a:xfrm>
            <a:prstGeom prst="rect">
              <a:avLst/>
            </a:prstGeom>
          </p:spPr>
        </p:pic>
      </p:gr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4"/>
          <a:stretch>
            <a:fillRect/>
          </a:stretch>
        </p:blipFill>
        <p:spPr>
          <a:xfrm>
            <a:off x="798617" y="6158174"/>
            <a:ext cx="2826826" cy="255541"/>
          </a:xfrm>
          <a:prstGeom prst="rect">
            <a:avLst/>
          </a:prstGeom>
        </p:spPr>
      </p:pic>
    </p:spTree>
    <p:extLst>
      <p:ext uri="{BB962C8B-B14F-4D97-AF65-F5344CB8AC3E}">
        <p14:creationId xmlns:p14="http://schemas.microsoft.com/office/powerpoint/2010/main" val="1206217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no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3923" cy="681390"/>
          </a:xfrm>
        </p:spPr>
        <p:txBody>
          <a:bodyPr tIns="0" anchor="t" anchorCtr="0"/>
          <a:lstStyle>
            <a:lvl1pPr>
              <a:defRPr sz="1539" cap="all" spc="-48" baseline="0" smtClean="0">
                <a:solidFill>
                  <a:schemeClr val="tx1"/>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463" cy="1254271"/>
          </a:xfrm>
        </p:spPr>
        <p:txBody>
          <a:bodyPr lIns="0"/>
          <a:lstStyle>
            <a:lvl1pPr marL="0" indent="0">
              <a:lnSpc>
                <a:spcPct val="100000"/>
              </a:lnSpc>
              <a:spcAft>
                <a:spcPts val="0"/>
              </a:spcAft>
              <a:buFontTx/>
              <a:buNone/>
              <a:defRPr sz="1539" b="1" cap="all" spc="-48" baseline="0" smtClean="0">
                <a:solidFill>
                  <a:schemeClr val="tx2"/>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128974741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1" y="0"/>
            <a:ext cx="12192000" cy="6858000"/>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618" y="409475"/>
            <a:ext cx="9774382" cy="681390"/>
          </a:xfrm>
        </p:spPr>
        <p:txBody>
          <a:bodyPr tIns="0" anchor="t" anchorCtr="0"/>
          <a:lstStyle>
            <a:lvl1pPr>
              <a:defRPr sz="1539" cap="all" spc="-48" baseline="0" smtClean="0">
                <a:solidFill>
                  <a:schemeClr val="tx2"/>
                </a:solidFill>
                <a:latin typeface="Verdana" pitchFamily="34" charset="0"/>
              </a:defRPr>
            </a:lvl1pPr>
          </a:lstStyle>
          <a:p>
            <a:r>
              <a:rPr lang="en-GB" noProof="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617" y="1139481"/>
            <a:ext cx="9773923" cy="1254271"/>
          </a:xfrm>
        </p:spPr>
        <p:txBody>
          <a:bodyPr lIns="0"/>
          <a:lstStyle>
            <a:lvl1pPr marL="0" indent="0">
              <a:lnSpc>
                <a:spcPct val="100000"/>
              </a:lnSpc>
              <a:spcAft>
                <a:spcPts val="0"/>
              </a:spcAft>
              <a:buFontTx/>
              <a:buNone/>
              <a:defRPr sz="1539" b="1" cap="all" spc="-48" baseline="0" smtClean="0">
                <a:solidFill>
                  <a:schemeClr val="bg1"/>
                </a:solidFill>
                <a:latin typeface="Verdana" pitchFamily="34" charset="0"/>
              </a:defRPr>
            </a:lvl1pPr>
          </a:lstStyle>
          <a:p>
            <a:r>
              <a:rPr lang="en-GB" noProof="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618" y="5018936"/>
            <a:ext cx="8137938" cy="1084011"/>
          </a:xfrm>
        </p:spPr>
        <p:txBody>
          <a:bodyPr lIns="0"/>
          <a:lstStyle>
            <a:lvl1pPr marL="0" indent="0">
              <a:buFont typeface="Arial" panose="020B0604020202020204" pitchFamily="34" charset="0"/>
              <a:buChar char="​"/>
              <a:defRPr sz="513">
                <a:solidFill>
                  <a:schemeClr val="bg1"/>
                </a:solidFill>
              </a:defRPr>
            </a:lvl1pPr>
          </a:lstStyle>
          <a:p>
            <a:pPr lvl="0"/>
            <a:r>
              <a:rPr lang="en-GB"/>
              <a:t>Subtitle</a:t>
            </a:r>
          </a:p>
        </p:txBody>
      </p:sp>
      <p:sp>
        <p:nvSpPr>
          <p:cNvPr id="7"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7800529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618" y="452438"/>
            <a:ext cx="7330441" cy="5254627"/>
          </a:xfrm>
        </p:spPr>
        <p:txBody>
          <a:bodyPr/>
          <a:lstStyle>
            <a:lvl1pPr>
              <a:defRPr sz="1539">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39E358D6-2C07-4588-BB20-50FD0000CCEB}" type="datetime1">
              <a:rPr lang="en-GB" smtClean="0"/>
              <a:t>18/06/2024</a:t>
            </a:fld>
            <a:endParaRPr lang="en-GB"/>
          </a:p>
        </p:txBody>
      </p:sp>
    </p:spTree>
    <p:extLst>
      <p:ext uri="{BB962C8B-B14F-4D97-AF65-F5344CB8AC3E}">
        <p14:creationId xmlns:p14="http://schemas.microsoft.com/office/powerpoint/2010/main" val="124593051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8"/>
            <a:ext cx="4886960" cy="5254627"/>
          </a:xfrm>
        </p:spPr>
        <p:txBody>
          <a:bodyPr/>
          <a:lstStyle>
            <a:lvl1pPr>
              <a:defRPr>
                <a:solidFill>
                  <a:schemeClr val="bg1"/>
                </a:solidFill>
              </a:defRPr>
            </a:lvl1pPr>
          </a:lstStyle>
          <a:p>
            <a:r>
              <a:rPr lang="en-GB"/>
              <a:t>Breaker text</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E6892AED-DD77-42C7-BB42-12F75B7E66E8}" type="datetime1">
              <a:rPr lang="en-GB" smtClean="0"/>
              <a:t>18/06/2024</a:t>
            </a:fld>
            <a:endParaRPr lang="en-GB"/>
          </a:p>
        </p:txBody>
      </p:sp>
    </p:spTree>
    <p:extLst>
      <p:ext uri="{BB962C8B-B14F-4D97-AF65-F5344CB8AC3E}">
        <p14:creationId xmlns:p14="http://schemas.microsoft.com/office/powerpoint/2010/main" val="14005564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1"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617" y="453496"/>
            <a:ext cx="10590003" cy="748626"/>
          </a:xfrm>
        </p:spPr>
        <p:txBody>
          <a:bodyPr/>
          <a:lstStyle>
            <a:lvl1pPr>
              <a:defRPr>
                <a:solidFill>
                  <a:schemeClr val="bg1"/>
                </a:solidFill>
              </a:defRPr>
            </a:lvl1pPr>
          </a:lstStyle>
          <a:p>
            <a:r>
              <a:rPr lang="en-US"/>
              <a:t>Click to edit Master title style</a:t>
            </a:r>
            <a:endParaRPr lang="en-GB"/>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618" y="1633160"/>
            <a:ext cx="10590003" cy="4086866"/>
          </a:xfrm>
        </p:spPr>
        <p:txBody>
          <a:bodyPr/>
          <a:lstStyle>
            <a:lvl1pPr marL="116075" indent="-116075">
              <a:buFont typeface="+mj-lt"/>
              <a:buAutoNum type="arabicPeriod"/>
              <a:defRPr sz="449" b="1" cap="all" baseline="0">
                <a:solidFill>
                  <a:schemeClr val="bg1"/>
                </a:solidFill>
              </a:defRPr>
            </a:lvl1pPr>
            <a:lvl2pPr marL="201095" indent="-85020">
              <a:defRPr sz="449"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CD4A6F46-B6F7-4994-AAE4-379699F66888}" type="datetime1">
              <a:rPr lang="en-GB" smtClean="0"/>
              <a:t>18/06/2024</a:t>
            </a:fld>
            <a:endParaRPr lang="en-GB"/>
          </a:p>
        </p:txBody>
      </p:sp>
    </p:spTree>
    <p:extLst>
      <p:ext uri="{BB962C8B-B14F-4D97-AF65-F5344CB8AC3E}">
        <p14:creationId xmlns:p14="http://schemas.microsoft.com/office/powerpoint/2010/main" val="270774680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B98ADA4-E8FA-45D8-A667-5B7FA1A67187}" type="datetime1">
              <a:rPr lang="en-GB" smtClean="0"/>
              <a:t>18/06/2024</a:t>
            </a:fld>
            <a:endParaRPr lang="en-GB"/>
          </a:p>
        </p:txBody>
      </p:sp>
    </p:spTree>
    <p:extLst>
      <p:ext uri="{BB962C8B-B14F-4D97-AF65-F5344CB8AC3E}">
        <p14:creationId xmlns:p14="http://schemas.microsoft.com/office/powerpoint/2010/main" val="81755162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88696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500071" y="1644651"/>
            <a:ext cx="4888549"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51C8650-3279-4A76-90A4-98B51440301C}" type="datetime1">
              <a:rPr lang="en-GB" smtClean="0"/>
              <a:t>18/06/2024</a:t>
            </a:fld>
            <a:endParaRPr lang="en-GB"/>
          </a:p>
        </p:txBody>
      </p:sp>
    </p:spTree>
    <p:extLst>
      <p:ext uri="{BB962C8B-B14F-4D97-AF65-F5344CB8AC3E}">
        <p14:creationId xmlns:p14="http://schemas.microsoft.com/office/powerpoint/2010/main" val="4985547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5579" y="1644651"/>
            <a:ext cx="5703042"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B13202A9-DE11-408D-9B8A-7630BF567349}" type="datetime1">
              <a:rPr lang="en-GB" smtClean="0"/>
              <a:t>18/06/2024</a:t>
            </a:fld>
            <a:endParaRPr lang="en-GB"/>
          </a:p>
        </p:txBody>
      </p:sp>
    </p:spTree>
    <p:extLst>
      <p:ext uri="{BB962C8B-B14F-4D97-AF65-F5344CB8AC3E}">
        <p14:creationId xmlns:p14="http://schemas.microsoft.com/office/powerpoint/2010/main" val="2068896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3F0DDBC-A080-42CE-8715-C06C1706FFC5}"/>
              </a:ext>
            </a:extLst>
          </p:cNvPr>
          <p:cNvGraphicFramePr>
            <a:graphicFrameLocks noChangeAspect="1"/>
          </p:cNvGraphicFramePr>
          <p:nvPr userDrawn="1">
            <p:custDataLst>
              <p:tags r:id="rId1"/>
            </p:custDataLst>
            <p:extLst>
              <p:ext uri="{D42A27DB-BD31-4B8C-83A1-F6EECF244321}">
                <p14:modId xmlns:p14="http://schemas.microsoft.com/office/powerpoint/2010/main" val="2586833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3F0DDBC-A080-42CE-8715-C06C1706FF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039157876"/>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4565" y="1644651"/>
            <a:ext cx="4074055" cy="40624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620D795-7D6C-4DDD-9364-2C8C35AA87F6}" type="datetime1">
              <a:rPr lang="en-GB" smtClean="0"/>
              <a:t>18/06/2024</a:t>
            </a:fld>
            <a:endParaRPr lang="en-GB"/>
          </a:p>
        </p:txBody>
      </p:sp>
    </p:spTree>
    <p:extLst>
      <p:ext uri="{BB962C8B-B14F-4D97-AF65-F5344CB8AC3E}">
        <p14:creationId xmlns:p14="http://schemas.microsoft.com/office/powerpoint/2010/main" val="153649143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8959428"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798617" y="1644652"/>
            <a:ext cx="10590003"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2540" y="452439"/>
            <a:ext cx="801068" cy="800779"/>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B90C0BA-1BD5-469D-8018-C447C1EB2A93}" type="datetime1">
              <a:rPr lang="en-GB" smtClean="0"/>
              <a:t>18/06/2024</a:t>
            </a:fld>
            <a:endParaRPr lang="en-GB"/>
          </a:p>
        </p:txBody>
      </p:sp>
    </p:spTree>
    <p:extLst>
      <p:ext uri="{BB962C8B-B14F-4D97-AF65-F5344CB8AC3E}">
        <p14:creationId xmlns:p14="http://schemas.microsoft.com/office/powerpoint/2010/main" val="281045398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89594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2539" y="1644654"/>
            <a:ext cx="818271" cy="817975"/>
          </a:xfrm>
          <a:noFill/>
          <a:ln>
            <a:noFill/>
          </a:ln>
        </p:spPr>
        <p:txBody>
          <a:bodyPr lIns="38399" tIns="0" anchor="t" anchorCtr="0"/>
          <a:lstStyle>
            <a:lvl1pPr marL="0" indent="0">
              <a:buNone/>
              <a:defRPr sz="577">
                <a:solidFill>
                  <a:schemeClr val="tx1"/>
                </a:solidFill>
              </a:defRPr>
            </a:lvl1pPr>
          </a:lstStyle>
          <a:p>
            <a:r>
              <a:rPr lang="en-GB" noProof="0"/>
              <a:t>icon</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2DADF78-B3EF-4042-B2F9-5AAFBCE5A22E}" type="datetime1">
              <a:rPr lang="en-GB" smtClean="0"/>
              <a:t>18/06/2024</a:t>
            </a:fld>
            <a:endParaRPr lang="en-GB"/>
          </a:p>
        </p:txBody>
      </p:sp>
    </p:spTree>
    <p:extLst>
      <p:ext uri="{BB962C8B-B14F-4D97-AF65-F5344CB8AC3E}">
        <p14:creationId xmlns:p14="http://schemas.microsoft.com/office/powerpoint/2010/main" val="40153172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618" y="1644652"/>
            <a:ext cx="651594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9058" y="1644653"/>
            <a:ext cx="3259562" cy="3239941"/>
          </a:xfrm>
          <a:noFill/>
          <a:ln>
            <a:noFill/>
          </a:ln>
        </p:spPr>
        <p:txBody>
          <a:bodyPr lIns="38399" tIns="0" anchor="t" anchorCtr="0"/>
          <a:lstStyle>
            <a:lvl1pPr marL="0" indent="0">
              <a:buNone/>
              <a:defRPr sz="577">
                <a:solidFill>
                  <a:schemeClr val="tx1"/>
                </a:solidFill>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BA51A42-5836-428D-B66B-B65A92E2CCAA}" type="datetime1">
              <a:rPr lang="en-GB" smtClean="0"/>
              <a:t>18/06/2024</a:t>
            </a:fld>
            <a:endParaRPr lang="en-GB"/>
          </a:p>
        </p:txBody>
      </p:sp>
    </p:spTree>
    <p:extLst>
      <p:ext uri="{BB962C8B-B14F-4D97-AF65-F5344CB8AC3E}">
        <p14:creationId xmlns:p14="http://schemas.microsoft.com/office/powerpoint/2010/main" val="268739970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618" y="1644652"/>
            <a:ext cx="5701454"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4567" y="1644269"/>
            <a:ext cx="4074055" cy="4062797"/>
          </a:xfrm>
        </p:spPr>
        <p:txBody>
          <a:bodyPr/>
          <a:lstStyle>
            <a:lvl1pPr marL="0" indent="0">
              <a:buNone/>
              <a:defRPr/>
            </a:lvl1pPr>
          </a:lstStyle>
          <a:p>
            <a:r>
              <a:rPr lang="en-GB">
                <a:effectLst/>
              </a:rPr>
              <a:t>illustration</a:t>
            </a:r>
            <a:endParaRPr lang="en-GB" noProof="0"/>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36937CD-C8B6-42FA-9EC6-EF300AFFE646}" type="datetime1">
              <a:rPr lang="en-GB" smtClean="0"/>
              <a:t>18/06/2024</a:t>
            </a:fld>
            <a:endParaRPr lang="en-GB"/>
          </a:p>
        </p:txBody>
      </p:sp>
    </p:spTree>
    <p:extLst>
      <p:ext uri="{BB962C8B-B14F-4D97-AF65-F5344CB8AC3E}">
        <p14:creationId xmlns:p14="http://schemas.microsoft.com/office/powerpoint/2010/main" val="88727722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7330441"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3553" y="4991259"/>
            <a:ext cx="2445068"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2341465" y="1633992"/>
            <a:ext cx="1797025" cy="2906915"/>
            <a:chOff x="12403271" y="-1"/>
            <a:chExt cx="1796791" cy="2907588"/>
          </a:xfrm>
        </p:grpSpPr>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3"/>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E10093C-62DA-496A-9DBF-6F8D26F3BF2E}" type="datetime1">
              <a:rPr lang="en-GB" smtClean="0"/>
              <a:t>18/06/2024</a:t>
            </a:fld>
            <a:endParaRPr lang="en-GB"/>
          </a:p>
        </p:txBody>
      </p:sp>
    </p:spTree>
    <p:extLst>
      <p:ext uri="{BB962C8B-B14F-4D97-AF65-F5344CB8AC3E}">
        <p14:creationId xmlns:p14="http://schemas.microsoft.com/office/powerpoint/2010/main" val="8482924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618" y="1644652"/>
            <a:ext cx="4072466"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5579" y="1644391"/>
            <a:ext cx="244347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3553" y="1644391"/>
            <a:ext cx="2445068"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grpSp>
        <p:nvGrpSpPr>
          <p:cNvPr id="16" name="Group 15">
            <a:extLst>
              <a:ext uri="{FF2B5EF4-FFF2-40B4-BE49-F238E27FC236}">
                <a16:creationId xmlns:a16="http://schemas.microsoft.com/office/drawing/2014/main" id="{F92F4B53-30AD-4697-89D7-9D962CE965E5}"/>
              </a:ext>
            </a:extLst>
          </p:cNvPr>
          <p:cNvGrpSpPr/>
          <p:nvPr userDrawn="1"/>
        </p:nvGrpSpPr>
        <p:grpSpPr>
          <a:xfrm>
            <a:off x="12341465" y="1633992"/>
            <a:ext cx="1797025" cy="2906915"/>
            <a:chOff x="12403271" y="-1"/>
            <a:chExt cx="1796791" cy="2907588"/>
          </a:xfrm>
        </p:grpSpPr>
        <p:pic>
          <p:nvPicPr>
            <p:cNvPr id="17" name="Picture 16">
              <a:extLst>
                <a:ext uri="{FF2B5EF4-FFF2-40B4-BE49-F238E27FC236}">
                  <a16:creationId xmlns:a16="http://schemas.microsoft.com/office/drawing/2014/main" id="{AF0FEF35-0958-440B-A77A-2699A83990A6}"/>
                </a:ext>
              </a:extLst>
            </p:cNvPr>
            <p:cNvPicPr>
              <a:picLocks noChangeAspect="1"/>
            </p:cNvPicPr>
            <p:nvPr userDrawn="1"/>
          </p:nvPicPr>
          <p:blipFill>
            <a:blip r:embed="rId2"/>
            <a:stretch>
              <a:fillRect/>
            </a:stretch>
          </p:blipFill>
          <p:spPr>
            <a:xfrm>
              <a:off x="12414617" y="1122667"/>
              <a:ext cx="1261627" cy="1565633"/>
            </a:xfrm>
            <a:prstGeom prst="rect">
              <a:avLst/>
            </a:prstGeom>
          </p:spPr>
        </p:pic>
        <p:grpSp>
          <p:nvGrpSpPr>
            <p:cNvPr id="18" name="Group 17">
              <a:extLst>
                <a:ext uri="{FF2B5EF4-FFF2-40B4-BE49-F238E27FC236}">
                  <a16:creationId xmlns:a16="http://schemas.microsoft.com/office/drawing/2014/main" id="{24203BB4-30A9-4057-A809-926EDEDB9F4F}"/>
                </a:ext>
              </a:extLst>
            </p:cNvPr>
            <p:cNvGrpSpPr/>
            <p:nvPr userDrawn="1"/>
          </p:nvGrpSpPr>
          <p:grpSpPr>
            <a:xfrm>
              <a:off x="12403271" y="-1"/>
              <a:ext cx="1796791" cy="2907588"/>
              <a:chOff x="9009867" y="1645032"/>
              <a:chExt cx="2365739" cy="3828268"/>
            </a:xfrm>
          </p:grpSpPr>
          <p:pic>
            <p:nvPicPr>
              <p:cNvPr id="19" name="Picture 18">
                <a:extLst>
                  <a:ext uri="{FF2B5EF4-FFF2-40B4-BE49-F238E27FC236}">
                    <a16:creationId xmlns:a16="http://schemas.microsoft.com/office/drawing/2014/main" id="{7139BD4A-714C-44AF-902B-B7BB51BF1ECF}"/>
                  </a:ext>
                </a:extLst>
              </p:cNvPr>
              <p:cNvPicPr>
                <a:picLocks noChangeAspect="1"/>
              </p:cNvPicPr>
              <p:nvPr/>
            </p:nvPicPr>
            <p:blipFill>
              <a:blip r:embed="rId3"/>
              <a:stretch>
                <a:fillRect/>
              </a:stretch>
            </p:blipFill>
            <p:spPr>
              <a:xfrm>
                <a:off x="9182748" y="1852126"/>
                <a:ext cx="599367" cy="280555"/>
              </a:xfrm>
              <a:prstGeom prst="rect">
                <a:avLst/>
              </a:prstGeom>
            </p:spPr>
          </p:pic>
          <p:sp>
            <p:nvSpPr>
              <p:cNvPr id="20" name="TextBox 19">
                <a:extLst>
                  <a:ext uri="{FF2B5EF4-FFF2-40B4-BE49-F238E27FC236}">
                    <a16:creationId xmlns:a16="http://schemas.microsoft.com/office/drawing/2014/main" id="{FBB5C133-0407-4A77-B2F7-7E365D047DE4}"/>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1" name="Rectangle: Rounded Corners 20">
                <a:extLst>
                  <a:ext uri="{FF2B5EF4-FFF2-40B4-BE49-F238E27FC236}">
                    <a16:creationId xmlns:a16="http://schemas.microsoft.com/office/drawing/2014/main" id="{1BBC228B-197B-44A3-99D0-D56237507B14}"/>
                  </a:ext>
                </a:extLst>
              </p:cNvPr>
              <p:cNvSpPr/>
              <p:nvPr/>
            </p:nvSpPr>
            <p:spPr>
              <a:xfrm>
                <a:off x="9009867" y="1645032"/>
                <a:ext cx="2365739" cy="3828268"/>
              </a:xfrm>
              <a:prstGeom prst="roundRect">
                <a:avLst>
                  <a:gd name="adj" fmla="val 2970"/>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gr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79F0066-3164-42E7-92E6-6ECB81B57310}" type="datetime1">
              <a:rPr lang="en-GB" smtClean="0"/>
              <a:t>18/06/2024</a:t>
            </a:fld>
            <a:endParaRPr lang="en-GB"/>
          </a:p>
        </p:txBody>
      </p:sp>
    </p:spTree>
    <p:extLst>
      <p:ext uri="{BB962C8B-B14F-4D97-AF65-F5344CB8AC3E}">
        <p14:creationId xmlns:p14="http://schemas.microsoft.com/office/powerpoint/2010/main" val="16955098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6868B673-9D9F-4BF4-8D81-D1B3477E6F0F}"/>
              </a:ext>
            </a:extLst>
          </p:cNvPr>
          <p:cNvGrpSpPr/>
          <p:nvPr userDrawn="1"/>
        </p:nvGrpSpPr>
        <p:grpSpPr>
          <a:xfrm>
            <a:off x="-1972350" y="1633992"/>
            <a:ext cx="1797025" cy="2906915"/>
            <a:chOff x="12339857" y="1634370"/>
            <a:chExt cx="1796791" cy="2907588"/>
          </a:xfrm>
        </p:grpSpPr>
        <p:sp>
          <p:nvSpPr>
            <p:cNvPr id="19" name="Rectangle: Rounded Corners 18">
              <a:extLst>
                <a:ext uri="{FF2B5EF4-FFF2-40B4-BE49-F238E27FC236}">
                  <a16:creationId xmlns:a16="http://schemas.microsoft.com/office/drawing/2014/main" id="{9F61C6D9-96E6-46EB-8545-E257C98220F8}"/>
                </a:ext>
              </a:extLst>
            </p:cNvPr>
            <p:cNvSpPr/>
            <p:nvPr/>
          </p:nvSpPr>
          <p:spPr>
            <a:xfrm>
              <a:off x="12339857" y="1634370"/>
              <a:ext cx="1796791" cy="290758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pic>
          <p:nvPicPr>
            <p:cNvPr id="17" name="Picture 16">
              <a:extLst>
                <a:ext uri="{FF2B5EF4-FFF2-40B4-BE49-F238E27FC236}">
                  <a16:creationId xmlns:a16="http://schemas.microsoft.com/office/drawing/2014/main" id="{23EC8C10-6A9E-4C2B-B6BA-69C39462851D}"/>
                </a:ext>
              </a:extLst>
            </p:cNvPr>
            <p:cNvPicPr>
              <a:picLocks noChangeAspect="1"/>
            </p:cNvPicPr>
            <p:nvPr/>
          </p:nvPicPr>
          <p:blipFill>
            <a:blip r:embed="rId2"/>
            <a:stretch>
              <a:fillRect/>
            </a:stretch>
          </p:blipFill>
          <p:spPr>
            <a:xfrm>
              <a:off x="12471161" y="1791659"/>
              <a:ext cx="455222" cy="213083"/>
            </a:xfrm>
            <a:prstGeom prst="rect">
              <a:avLst/>
            </a:prstGeom>
          </p:spPr>
        </p:pic>
        <p:sp>
          <p:nvSpPr>
            <p:cNvPr id="18" name="TextBox 17">
              <a:extLst>
                <a:ext uri="{FF2B5EF4-FFF2-40B4-BE49-F238E27FC236}">
                  <a16:creationId xmlns:a16="http://schemas.microsoft.com/office/drawing/2014/main" id="{BF580C90-4416-41DC-ADAC-F1014BB16E65}"/>
                </a:ext>
              </a:extLst>
            </p:cNvPr>
            <p:cNvSpPr txBox="1"/>
            <p:nvPr/>
          </p:nvSpPr>
          <p:spPr bwMode="auto">
            <a:xfrm>
              <a:off x="12483714" y="2086228"/>
              <a:ext cx="1433633" cy="10351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pic>
          <p:nvPicPr>
            <p:cNvPr id="15" name="Picture 14">
              <a:extLst>
                <a:ext uri="{FF2B5EF4-FFF2-40B4-BE49-F238E27FC236}">
                  <a16:creationId xmlns:a16="http://schemas.microsoft.com/office/drawing/2014/main" id="{22C7FA45-BEB8-4FA0-89DA-4AF47CEA9ACF}"/>
                </a:ext>
              </a:extLst>
            </p:cNvPr>
            <p:cNvPicPr>
              <a:picLocks noChangeAspect="1"/>
            </p:cNvPicPr>
            <p:nvPr userDrawn="1"/>
          </p:nvPicPr>
          <p:blipFill>
            <a:blip r:embed="rId3"/>
            <a:stretch>
              <a:fillRect/>
            </a:stretch>
          </p:blipFill>
          <p:spPr>
            <a:xfrm>
              <a:off x="12351204" y="2757038"/>
              <a:ext cx="1261627" cy="1565633"/>
            </a:xfrm>
            <a:prstGeom prst="rect">
              <a:avLst/>
            </a:prstGeom>
          </p:spPr>
        </p:pic>
      </p:grpSp>
      <p:grpSp>
        <p:nvGrpSpPr>
          <p:cNvPr id="21" name="Group 20">
            <a:extLst>
              <a:ext uri="{FF2B5EF4-FFF2-40B4-BE49-F238E27FC236}">
                <a16:creationId xmlns:a16="http://schemas.microsoft.com/office/drawing/2014/main" id="{21327CDE-D280-433E-A1DD-9B88BC9A9D74}"/>
              </a:ext>
            </a:extLst>
          </p:cNvPr>
          <p:cNvGrpSpPr/>
          <p:nvPr userDrawn="1"/>
        </p:nvGrpSpPr>
        <p:grpSpPr>
          <a:xfrm>
            <a:off x="12341465" y="1633992"/>
            <a:ext cx="1797025" cy="2906915"/>
            <a:chOff x="-1899137" y="-1"/>
            <a:chExt cx="1796791" cy="2907588"/>
          </a:xfrm>
        </p:grpSpPr>
        <p:grpSp>
          <p:nvGrpSpPr>
            <p:cNvPr id="22" name="Group 21">
              <a:extLst>
                <a:ext uri="{FF2B5EF4-FFF2-40B4-BE49-F238E27FC236}">
                  <a16:creationId xmlns:a16="http://schemas.microsoft.com/office/drawing/2014/main" id="{4AE14B58-12EA-4B20-8931-337F0DC7BE74}"/>
                </a:ext>
              </a:extLst>
            </p:cNvPr>
            <p:cNvGrpSpPr/>
            <p:nvPr userDrawn="1"/>
          </p:nvGrpSpPr>
          <p:grpSpPr>
            <a:xfrm>
              <a:off x="-1899137" y="-1"/>
              <a:ext cx="1796791" cy="2907588"/>
              <a:chOff x="9009867" y="1645032"/>
              <a:chExt cx="2365739" cy="3828268"/>
            </a:xfrm>
          </p:grpSpPr>
          <p:pic>
            <p:nvPicPr>
              <p:cNvPr id="24" name="Picture 23">
                <a:extLst>
                  <a:ext uri="{FF2B5EF4-FFF2-40B4-BE49-F238E27FC236}">
                    <a16:creationId xmlns:a16="http://schemas.microsoft.com/office/drawing/2014/main" id="{E1E15413-4664-4681-9444-310804612302}"/>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5" name="TextBox 24">
                <a:extLst>
                  <a:ext uri="{FF2B5EF4-FFF2-40B4-BE49-F238E27FC236}">
                    <a16:creationId xmlns:a16="http://schemas.microsoft.com/office/drawing/2014/main" id="{D2D38E9D-D309-4835-BB4A-24E940357F1D}"/>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26" name="Rectangle: Rounded Corners 25">
                <a:extLst>
                  <a:ext uri="{FF2B5EF4-FFF2-40B4-BE49-F238E27FC236}">
                    <a16:creationId xmlns:a16="http://schemas.microsoft.com/office/drawing/2014/main" id="{3408A5E0-BE3B-4CF6-B031-C7BDEAE8EF42}"/>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23" name="Picture 22">
              <a:extLst>
                <a:ext uri="{FF2B5EF4-FFF2-40B4-BE49-F238E27FC236}">
                  <a16:creationId xmlns:a16="http://schemas.microsoft.com/office/drawing/2014/main" id="{74467B95-2571-401A-B1E8-0E4825008764}"/>
                </a:ext>
              </a:extLst>
            </p:cNvPr>
            <p:cNvPicPr>
              <a:picLocks noChangeAspect="1"/>
            </p:cNvPicPr>
            <p:nvPr userDrawn="1"/>
          </p:nvPicPr>
          <p:blipFill>
            <a:blip r:embed="rId4"/>
            <a:stretch>
              <a:fillRect/>
            </a:stretch>
          </p:blipFill>
          <p:spPr>
            <a:xfrm>
              <a:off x="-1884053" y="1200637"/>
              <a:ext cx="1418614" cy="1444137"/>
            </a:xfrm>
            <a:prstGeom prst="rect">
              <a:avLst/>
            </a:prstGeom>
          </p:spPr>
        </p:pic>
      </p:grpSp>
      <p:sp>
        <p:nvSpPr>
          <p:cNvPr id="4" name="Title 1"/>
          <p:cNvSpPr>
            <a:spLocks noGrp="1"/>
          </p:cNvSpPr>
          <p:nvPr>
            <p:ph type="title"/>
          </p:nvPr>
        </p:nvSpPr>
        <p:spPr>
          <a:xfrm>
            <a:off x="798617" y="453496"/>
            <a:ext cx="10590003" cy="748626"/>
          </a:xfrm>
        </p:spPr>
        <p:txBody>
          <a:bodyPr/>
          <a:lstStyle/>
          <a:p>
            <a:r>
              <a:rPr lang="en-US"/>
              <a:t>Click to edit Master title style</a:t>
            </a:r>
            <a:endParaRPr lang="en-GB"/>
          </a:p>
        </p:txBody>
      </p:sp>
      <p:sp>
        <p:nvSpPr>
          <p:cNvPr id="3" name="Content Placeholder 2"/>
          <p:cNvSpPr>
            <a:spLocks noGrp="1"/>
          </p:cNvSpPr>
          <p:nvPr>
            <p:ph idx="1" hasCustomPrompt="1"/>
          </p:nvPr>
        </p:nvSpPr>
        <p:spPr>
          <a:xfrm>
            <a:off x="4056592" y="1644652"/>
            <a:ext cx="7332028"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619" y="1644391"/>
            <a:ext cx="2443480"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619" y="4991259"/>
            <a:ext cx="2443479" cy="715807"/>
          </a:xfrm>
        </p:spPr>
        <p:txBody>
          <a:bodyPr lIns="0" anchor="b" anchorCtr="0"/>
          <a:lstStyle>
            <a:lvl1pPr marL="73310" indent="-73310">
              <a:lnSpc>
                <a:spcPct val="80000"/>
              </a:lnSpc>
              <a:spcAft>
                <a:spcPts val="385"/>
              </a:spcAft>
              <a:buFont typeface="+mj-lt"/>
              <a:buAutoNum type="arabicParenR"/>
              <a:defRPr sz="321" b="0" i="1" cap="none" spc="0" baseline="0">
                <a:solidFill>
                  <a:schemeClr val="bg2"/>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Not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E8FCDCF-FAAC-48D8-97CE-71AEDA9EFE29}" type="datetime1">
              <a:rPr lang="en-GB" smtClean="0"/>
              <a:t>18/06/2024</a:t>
            </a:fld>
            <a:endParaRPr lang="en-GB"/>
          </a:p>
        </p:txBody>
      </p:sp>
    </p:spTree>
    <p:extLst>
      <p:ext uri="{BB962C8B-B14F-4D97-AF65-F5344CB8AC3E}">
        <p14:creationId xmlns:p14="http://schemas.microsoft.com/office/powerpoint/2010/main" val="14470728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618" y="452439"/>
            <a:ext cx="4072466" cy="748626"/>
          </a:xfrm>
        </p:spPr>
        <p:txBody>
          <a:bodyPr/>
          <a:lstStyle/>
          <a:p>
            <a:r>
              <a:rPr lang="en-US"/>
              <a:t>Click to edit Master title style</a:t>
            </a:r>
            <a:endParaRPr lang="en-GB"/>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618" y="1644652"/>
            <a:ext cx="4072467"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536905"/>
            <a:ext cx="5703042"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7E088B74-D5F8-4D6D-B466-6D0723103653}" type="datetime1">
              <a:rPr lang="en-GB" smtClean="0"/>
              <a:t>18/06/2024</a:t>
            </a:fld>
            <a:endParaRPr lang="en-GB"/>
          </a:p>
        </p:txBody>
      </p:sp>
    </p:spTree>
    <p:extLst>
      <p:ext uri="{BB962C8B-B14F-4D97-AF65-F5344CB8AC3E}">
        <p14:creationId xmlns:p14="http://schemas.microsoft.com/office/powerpoint/2010/main" val="404079408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617" y="452439"/>
            <a:ext cx="2443480" cy="748626"/>
          </a:xfrm>
        </p:spPr>
        <p:txBody>
          <a:bodyPr/>
          <a:lstStyle/>
          <a:p>
            <a:r>
              <a:rPr lang="en-US"/>
              <a:t>Click to edit Master title style</a:t>
            </a:r>
            <a:endParaRPr lang="en-GB"/>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9" y="1644653"/>
            <a:ext cx="2443480" cy="4061090"/>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592" y="5388899"/>
            <a:ext cx="7332029"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592" y="536905"/>
            <a:ext cx="7332029" cy="4851994"/>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2EEB1991-01A7-4A1C-9C66-872C05E5583D}" type="datetime1">
              <a:rPr lang="en-GB" smtClean="0"/>
              <a:t>18/06/2024</a:t>
            </a:fld>
            <a:endParaRPr lang="en-GB"/>
          </a:p>
        </p:txBody>
      </p:sp>
    </p:spTree>
    <p:extLst>
      <p:ext uri="{BB962C8B-B14F-4D97-AF65-F5344CB8AC3E}">
        <p14:creationId xmlns:p14="http://schemas.microsoft.com/office/powerpoint/2010/main" val="173001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F411269-BEE2-492E-A6F4-24EC4E0745B3}"/>
              </a:ext>
            </a:extLst>
          </p:cNvPr>
          <p:cNvGraphicFramePr>
            <a:graphicFrameLocks noChangeAspect="1"/>
          </p:cNvGraphicFramePr>
          <p:nvPr userDrawn="1">
            <p:custDataLst>
              <p:tags r:id="rId1"/>
            </p:custDataLst>
            <p:extLst>
              <p:ext uri="{D42A27DB-BD31-4B8C-83A1-F6EECF244321}">
                <p14:modId xmlns:p14="http://schemas.microsoft.com/office/powerpoint/2010/main" val="4142377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F411269-BEE2-492E-A6F4-24EC4E0745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234044073"/>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618" y="452439"/>
            <a:ext cx="10590003" cy="748626"/>
          </a:xfrm>
        </p:spPr>
        <p:txBody>
          <a:bodyPr/>
          <a:lstStyle/>
          <a:p>
            <a:r>
              <a:rPr lang="en-US"/>
              <a:t>Click to edit Master title style</a:t>
            </a:r>
            <a:endParaRPr lang="en-GB"/>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618" y="1644652"/>
            <a:ext cx="4072467" cy="4062413"/>
          </a:xfrm>
        </p:spPr>
        <p:txBody>
          <a:bodyPr/>
          <a:lstStyle>
            <a:lvl4pPr>
              <a:defRPr sz="449"/>
            </a:lvl4pPr>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5579" y="5388899"/>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310C8F63-746D-49AA-89DD-F720C3C3E8E3}" type="datetime1">
              <a:rPr lang="en-GB" smtClean="0"/>
              <a:t>18/06/2024</a:t>
            </a:fld>
            <a:endParaRPr lang="en-GB"/>
          </a:p>
        </p:txBody>
      </p:sp>
    </p:spTree>
    <p:extLst>
      <p:ext uri="{BB962C8B-B14F-4D97-AF65-F5344CB8AC3E}">
        <p14:creationId xmlns:p14="http://schemas.microsoft.com/office/powerpoint/2010/main" val="273904435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2443480" cy="3744247"/>
          </a:xfrm>
          <a:solidFill>
            <a:srgbClr val="F6F6F4"/>
          </a:solidFill>
        </p:spPr>
        <p:txBody>
          <a:bodyPr tIns="0" anchor="t" anchorCtr="0"/>
          <a:lstStyle>
            <a:lvl1pPr marL="0" indent="0">
              <a:buNone/>
              <a:defRPr/>
            </a:lvl1pPr>
          </a:lstStyle>
          <a:p>
            <a:r>
              <a:rPr lang="en-GB" noProof="0"/>
              <a:t>Mark placeholder to insert image</a:t>
            </a:r>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592" y="1644652"/>
            <a:ext cx="7332029" cy="4062413"/>
          </a:xfrm>
        </p:spPr>
        <p:txBody>
          <a:bodyPr/>
          <a:lstStyle>
            <a:lvl5pPr>
              <a:defRPr spc="-32"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7029" y="5388899"/>
            <a:ext cx="2445068"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07D9B8B2-2B26-4659-AFD3-8F852FE9A4D5}" type="datetime1">
              <a:rPr lang="en-GB" smtClean="0"/>
              <a:t>18/06/2024</a:t>
            </a:fld>
            <a:endParaRPr lang="en-GB"/>
          </a:p>
        </p:txBody>
      </p:sp>
    </p:spTree>
    <p:extLst>
      <p:ext uri="{BB962C8B-B14F-4D97-AF65-F5344CB8AC3E}">
        <p14:creationId xmlns:p14="http://schemas.microsoft.com/office/powerpoint/2010/main" val="231841478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7" y="536906"/>
            <a:ext cx="10590003" cy="4851993"/>
          </a:xfrm>
          <a:solidFill>
            <a:srgbClr val="F6F6F4"/>
          </a:solidFill>
        </p:spPr>
        <p:txBody>
          <a:bodyPr tIns="0" anchor="t" anchorCtr="0"/>
          <a:lstStyle>
            <a:lvl1pPr>
              <a:buNone/>
              <a:defRPr/>
            </a:lvl1pPr>
          </a:lstStyle>
          <a:p>
            <a:r>
              <a:rPr lang="en-GB" noProof="0"/>
              <a:t>Mark placeholder to insert image</a:t>
            </a:r>
          </a:p>
        </p:txBody>
      </p:sp>
      <p:sp>
        <p:nvSpPr>
          <p:cNvPr id="4" name="Title 1"/>
          <p:cNvSpPr>
            <a:spLocks noGrp="1"/>
          </p:cNvSpPr>
          <p:nvPr>
            <p:ph type="title"/>
          </p:nvPr>
        </p:nvSpPr>
        <p:spPr>
          <a:xfrm>
            <a:off x="1613111" y="906489"/>
            <a:ext cx="3257974" cy="2157549"/>
          </a:xfrm>
        </p:spPr>
        <p:txBody>
          <a:bodyPr/>
          <a:lstStyle/>
          <a:p>
            <a:r>
              <a:rPr lang="en-US"/>
              <a:t>Click to edit Master title style</a:t>
            </a:r>
            <a:endParaRPr lang="en-GB"/>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7030" y="5388899"/>
            <a:ext cx="1059159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A2D02C2F-C8D1-4CA6-BC85-74B401D907FB}" type="datetime1">
              <a:rPr lang="en-GB" smtClean="0"/>
              <a:t>18/06/2024</a:t>
            </a:fld>
            <a:endParaRPr lang="en-GB"/>
          </a:p>
        </p:txBody>
      </p:sp>
    </p:spTree>
    <p:extLst>
      <p:ext uri="{BB962C8B-B14F-4D97-AF65-F5344CB8AC3E}">
        <p14:creationId xmlns:p14="http://schemas.microsoft.com/office/powerpoint/2010/main" val="26258483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7030" y="5387834"/>
            <a:ext cx="407405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5579" y="5387836"/>
            <a:ext cx="5703042"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618" y="1644653"/>
            <a:ext cx="4072467" cy="3743181"/>
          </a:xfrm>
          <a:solidFill>
            <a:srgbClr val="F6F6F4"/>
          </a:solidFill>
        </p:spPr>
        <p:txBody>
          <a:bodyPr tIns="0" anchor="t" anchorCtr="0"/>
          <a:lstStyle>
            <a:lvl1pPr>
              <a:buNone/>
              <a:defRPr/>
            </a:lvl1pPr>
          </a:lstStyle>
          <a:p>
            <a:r>
              <a:rPr lang="en-GB" noProof="0"/>
              <a:t>Mark placeholder to insert image</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557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317641B-8A6E-4000-8D18-8C26E74C5E0D}" type="datetime1">
              <a:rPr lang="en-GB" smtClean="0"/>
              <a:t>18/06/2024</a:t>
            </a:fld>
            <a:endParaRPr lang="en-GB"/>
          </a:p>
        </p:txBody>
      </p:sp>
    </p:spTree>
    <p:extLst>
      <p:ext uri="{BB962C8B-B14F-4D97-AF65-F5344CB8AC3E}">
        <p14:creationId xmlns:p14="http://schemas.microsoft.com/office/powerpoint/2010/main" val="240273826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8144935"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8144935"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8046" y="5387836"/>
            <a:ext cx="1630575"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9976E51-1FC3-4474-950D-AA48067650FE}" type="datetime1">
              <a:rPr lang="en-GB" smtClean="0"/>
              <a:t>18/06/2024</a:t>
            </a:fld>
            <a:endParaRPr lang="en-GB"/>
          </a:p>
        </p:txBody>
      </p:sp>
    </p:spTree>
    <p:extLst>
      <p:ext uri="{BB962C8B-B14F-4D97-AF65-F5344CB8AC3E}">
        <p14:creationId xmlns:p14="http://schemas.microsoft.com/office/powerpoint/2010/main" val="216596092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9" y="5387836"/>
            <a:ext cx="3257974"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1085" y="5387836"/>
            <a:ext cx="3257974" cy="317907"/>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0"/>
            <a:ext cx="3257973" cy="3744249"/>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3552" y="1644391"/>
            <a:ext cx="2445069" cy="4062675"/>
          </a:xfrm>
        </p:spPr>
        <p:txBody>
          <a:bodyPr lIns="0"/>
          <a:lstStyle>
            <a:lvl1pPr marL="0" indent="0">
              <a:lnSpc>
                <a:spcPct val="80000"/>
              </a:lnSpc>
              <a:spcAft>
                <a:spcPts val="385"/>
              </a:spcAft>
              <a:buFont typeface="Arial" panose="020B0604020202020204" pitchFamily="34" charset="0"/>
              <a:buChar char="​"/>
              <a:defRPr sz="1539" b="1" cap="all" spc="-48" baseline="0">
                <a:solidFill>
                  <a:schemeClr val="tx2"/>
                </a:solidFill>
              </a:defRPr>
            </a:lvl1pPr>
            <a:lvl2pPr marL="0" indent="0">
              <a:lnSpc>
                <a:spcPct val="100000"/>
              </a:lnSpc>
              <a:buFont typeface="Arial" panose="020B0604020202020204" pitchFamily="34" charset="0"/>
              <a:buChar char="​"/>
              <a:defRPr sz="513" baseline="0">
                <a:solidFill>
                  <a:schemeClr val="tx2"/>
                </a:solidFill>
              </a:defRPr>
            </a:lvl2pPr>
            <a:lvl3pPr marL="80815" indent="-80815">
              <a:lnSpc>
                <a:spcPct val="100000"/>
              </a:lnSpc>
              <a:buFont typeface="Verdana" panose="020B0604030504040204" pitchFamily="34" charset="0"/>
              <a:buChar char="•"/>
              <a:defRPr sz="513" i="0" baseline="0">
                <a:solidFill>
                  <a:schemeClr val="tx2"/>
                </a:solidFill>
              </a:defRPr>
            </a:lvl3pPr>
            <a:lvl4pPr marL="87056" indent="-87056">
              <a:lnSpc>
                <a:spcPct val="100000"/>
              </a:lnSpc>
              <a:buFont typeface="+mj-lt"/>
              <a:buAutoNum type="arabicPeriod"/>
              <a:defRPr sz="513">
                <a:solidFill>
                  <a:schemeClr val="tx2"/>
                </a:solidFill>
              </a:defRPr>
            </a:lvl4pPr>
            <a:lvl5pPr marL="87056" indent="-87056">
              <a:lnSpc>
                <a:spcPct val="100000"/>
              </a:lnSpc>
              <a:buFont typeface="+mj-lt"/>
              <a:buAutoNum type="alphaUcPeriod"/>
              <a:defRPr sz="513" b="0" cap="none" spc="-16" baseline="0">
                <a:solidFill>
                  <a:schemeClr val="tx2"/>
                </a:solidFill>
              </a:defRPr>
            </a:lvl5pPr>
            <a:lvl6pPr>
              <a:defRPr sz="513"/>
            </a:lvl6pPr>
            <a:lvl7pPr>
              <a:defRPr sz="513">
                <a:solidFill>
                  <a:schemeClr val="tx2"/>
                </a:solidFill>
              </a:defRPr>
            </a:lvl7pPr>
            <a:lvl8pPr marL="87056" indent="-87056">
              <a:buClr>
                <a:schemeClr val="tx2"/>
              </a:buClr>
              <a:buFont typeface="+mj-lt"/>
              <a:buAutoNum type="arabicParenR"/>
              <a:defRPr sz="321">
                <a:solidFill>
                  <a:schemeClr val="tx2"/>
                </a:solidFill>
              </a:defRPr>
            </a:lvl8pPr>
            <a:lvl9pPr marL="87056" indent="-87056">
              <a:buClr>
                <a:schemeClr val="tx2"/>
              </a:buClr>
              <a:buFont typeface="+mj-lt"/>
              <a:buAutoNum type="alphaLcParenR"/>
              <a:defRPr sz="321">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19B1F6A8-6B7A-461C-8C18-9117AB04685F}" type="datetime1">
              <a:rPr lang="en-GB" smtClean="0"/>
              <a:t>18/06/2024</a:t>
            </a:fld>
            <a:endParaRPr lang="en-GB"/>
          </a:p>
        </p:txBody>
      </p:sp>
    </p:spTree>
    <p:extLst>
      <p:ext uri="{BB962C8B-B14F-4D97-AF65-F5344CB8AC3E}">
        <p14:creationId xmlns:p14="http://schemas.microsoft.com/office/powerpoint/2010/main" val="182373749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6"/>
            <a:ext cx="4886961"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500070" y="5387835"/>
            <a:ext cx="2443482" cy="317908"/>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8046" y="5387836"/>
            <a:ext cx="1630575" cy="317907"/>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4886961"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500072" y="1644650"/>
            <a:ext cx="2443480"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670B47BD-1B93-49E8-8F1A-50F28146FAEE}" type="datetime1">
              <a:rPr lang="en-GB" smtClean="0"/>
              <a:t>18/06/2024</a:t>
            </a:fld>
            <a:endParaRPr lang="en-GB"/>
          </a:p>
        </p:txBody>
      </p:sp>
    </p:spTree>
    <p:extLst>
      <p:ext uri="{BB962C8B-B14F-4D97-AF65-F5344CB8AC3E}">
        <p14:creationId xmlns:p14="http://schemas.microsoft.com/office/powerpoint/2010/main" val="47863326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618" y="5387835"/>
            <a:ext cx="5701454"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4564" y="5387835"/>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8046" y="5387835"/>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7029" y="1644652"/>
            <a:ext cx="5703042"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0"/>
            <a:ext cx="1628988" cy="3744249"/>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3744248"/>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98217C0B-9033-4A97-8B9B-43B4113B467B}" type="datetime1">
              <a:rPr lang="en-GB" smtClean="0"/>
              <a:t>18/06/2024</a:t>
            </a:fld>
            <a:endParaRPr lang="en-GB"/>
          </a:p>
        </p:txBody>
      </p:sp>
    </p:spTree>
    <p:extLst>
      <p:ext uri="{BB962C8B-B14F-4D97-AF65-F5344CB8AC3E}">
        <p14:creationId xmlns:p14="http://schemas.microsoft.com/office/powerpoint/2010/main" val="57953887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835"/>
            <a:ext cx="570304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4565" y="5387835"/>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8046" y="3144372"/>
            <a:ext cx="1630575"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8046" y="5387835"/>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6" y="1644650"/>
            <a:ext cx="1628987" cy="3744249"/>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6" y="1644652"/>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6" y="3905375"/>
            <a:ext cx="1630575" cy="1483526"/>
          </a:xfrm>
          <a:solidFill>
            <a:srgbClr val="F6F6F4"/>
          </a:solidFill>
        </p:spPr>
        <p:txBody>
          <a:bodyPr tIns="0" anchor="t" anchorCtr="0"/>
          <a:lstStyle>
            <a:lvl1pPr marL="0" indent="0">
              <a:spcAft>
                <a:spcPts val="0"/>
              </a:spcAft>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93200B9-2419-488B-B3B4-69557D1FB50C}" type="datetime1">
              <a:rPr lang="en-GB" smtClean="0"/>
              <a:t>18/06/2024</a:t>
            </a:fld>
            <a:endParaRPr lang="en-GB"/>
          </a:p>
        </p:txBody>
      </p:sp>
    </p:spTree>
    <p:extLst>
      <p:ext uri="{BB962C8B-B14F-4D97-AF65-F5344CB8AC3E}">
        <p14:creationId xmlns:p14="http://schemas.microsoft.com/office/powerpoint/2010/main" val="819640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7836"/>
            <a:ext cx="5703042" cy="317907"/>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4564" y="3145672"/>
            <a:ext cx="407405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4074057" cy="1483526"/>
          </a:xfrm>
          <a:solidFill>
            <a:srgbClr val="F6F6F4"/>
          </a:solidFill>
        </p:spPr>
        <p:txBody>
          <a:bodyPr tIns="0" anchor="t" anchorCtr="0"/>
          <a:lstStyle>
            <a:lvl1pPr>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4566" y="5387835"/>
            <a:ext cx="1628987"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8044" y="5387835"/>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4" y="3905375"/>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36191CC-81E4-40E2-A3EA-FD9630412644}" type="datetime1">
              <a:rPr lang="en-GB" smtClean="0"/>
              <a:t>18/06/2024</a:t>
            </a:fld>
            <a:endParaRPr lang="en-GB"/>
          </a:p>
        </p:txBody>
      </p:sp>
    </p:spTree>
    <p:extLst>
      <p:ext uri="{BB962C8B-B14F-4D97-AF65-F5344CB8AC3E}">
        <p14:creationId xmlns:p14="http://schemas.microsoft.com/office/powerpoint/2010/main" val="38905907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A92B2C7-5E53-4EA1-BAD0-D814DF20E580}"/>
              </a:ext>
            </a:extLst>
          </p:cNvPr>
          <p:cNvGraphicFramePr>
            <a:graphicFrameLocks noChangeAspect="1"/>
          </p:cNvGraphicFramePr>
          <p:nvPr userDrawn="1">
            <p:custDataLst>
              <p:tags r:id="rId1"/>
            </p:custDataLst>
            <p:extLst>
              <p:ext uri="{D42A27DB-BD31-4B8C-83A1-F6EECF244321}">
                <p14:modId xmlns:p14="http://schemas.microsoft.com/office/powerpoint/2010/main" val="13296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DA92B2C7-5E53-4EA1-BAD0-D814DF20E5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18.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26481537"/>
      </p:ext>
    </p:extLst>
  </p:cSld>
  <p:clrMapOvr>
    <a:masterClrMapping/>
  </p:clrMapOvr>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31" y="5388899"/>
            <a:ext cx="5703042" cy="316843"/>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4564" y="3144193"/>
            <a:ext cx="1628988"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4564" y="5387953"/>
            <a:ext cx="1628988"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8044" y="314419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8044" y="5387953"/>
            <a:ext cx="1630576"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8" y="1644652"/>
            <a:ext cx="5701453" cy="3744247"/>
          </a:xfrm>
          <a:solidFill>
            <a:srgbClr val="F6F6F4"/>
          </a:solidFill>
        </p:spPr>
        <p:txBody>
          <a:bodyPr tIns="0" anchor="t" anchorCtr="0"/>
          <a:lstStyle>
            <a:lvl1pPr>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4564" y="1644651"/>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4" y="3905375"/>
            <a:ext cx="1628988" cy="1483526"/>
          </a:xfrm>
          <a:solidFill>
            <a:srgbClr val="F6F6F4"/>
          </a:solidFill>
        </p:spPr>
        <p:txBody>
          <a:bodyPr tIns="0" anchor="t" anchorCtr="0"/>
          <a:lstStyle>
            <a:lvl1pPr marL="0" indent="0">
              <a:buNone/>
              <a:defRPr/>
            </a:lvl1pPr>
          </a:lstStyle>
          <a:p>
            <a:r>
              <a:rPr lang="en-GB" noProof="0"/>
              <a:t>Mark placeholder to insert image</a:t>
            </a:r>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8044" y="1644652"/>
            <a:ext cx="1630576"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178DCDE-D1A1-4EB4-8F09-37541DFBB130}" type="datetime1">
              <a:rPr lang="en-GB" smtClean="0"/>
              <a:t>18/06/2024</a:t>
            </a:fld>
            <a:endParaRPr lang="en-GB"/>
          </a:p>
        </p:txBody>
      </p:sp>
    </p:spTree>
    <p:extLst>
      <p:ext uri="{BB962C8B-B14F-4D97-AF65-F5344CB8AC3E}">
        <p14:creationId xmlns:p14="http://schemas.microsoft.com/office/powerpoint/2010/main" val="97436111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7029" y="5387953"/>
            <a:ext cx="3259562" cy="318166"/>
          </a:xfrm>
        </p:spPr>
        <p:txBody>
          <a:bodyPr lIns="0" anchor="b" anchorCtr="0"/>
          <a:lstStyle>
            <a:lvl1pPr marL="0" indent="0">
              <a:lnSpc>
                <a:spcPct val="80000"/>
              </a:lnSpc>
              <a:spcAft>
                <a:spcPts val="0"/>
              </a:spcAft>
              <a:buFont typeface="Arial" panose="020B0604020202020204" pitchFamily="34" charset="0"/>
              <a:buChar char="​"/>
              <a:defRPr sz="353" b="1" i="0" cap="all" spc="-16" baseline="0">
                <a:solidFill>
                  <a:schemeClr val="tx1"/>
                </a:solidFill>
              </a:defRPr>
            </a:lvl1pPr>
            <a:lvl2pPr marL="0" indent="0">
              <a:lnSpc>
                <a:spcPct val="100000"/>
              </a:lnSpc>
              <a:buFont typeface="Arial" panose="020B0604020202020204" pitchFamily="34" charset="0"/>
              <a:buNone/>
              <a:defRPr sz="770" baseline="0">
                <a:solidFill>
                  <a:schemeClr val="tx2"/>
                </a:solidFill>
              </a:defRPr>
            </a:lvl2pPr>
            <a:lvl3pPr marL="0" indent="0">
              <a:lnSpc>
                <a:spcPct val="100000"/>
              </a:lnSpc>
              <a:buFont typeface="Arial" panose="020B0604020202020204" pitchFamily="34" charset="0"/>
              <a:buChar char="​"/>
              <a:defRPr sz="337" i="1">
                <a:solidFill>
                  <a:schemeClr val="bg2"/>
                </a:solidFill>
              </a:defRPr>
            </a:lvl3pPr>
            <a:lvl4pPr marL="56510" indent="-56510">
              <a:lnSpc>
                <a:spcPct val="100000"/>
              </a:lnSpc>
              <a:buFont typeface="+mj-lt"/>
              <a:buAutoNum type="arabicPeriod"/>
              <a:defRPr sz="385">
                <a:solidFill>
                  <a:schemeClr val="bg2"/>
                </a:solidFill>
              </a:defRPr>
            </a:lvl4pPr>
            <a:lvl5pPr marL="56510" indent="-56510">
              <a:lnSpc>
                <a:spcPct val="100000"/>
              </a:lnSpc>
              <a:buFont typeface="+mj-lt"/>
              <a:buAutoNum type="alphaUcPeriod"/>
              <a:defRPr sz="385" b="0" cap="none" baseline="0">
                <a:solidFill>
                  <a:schemeClr val="bg2"/>
                </a:solidFill>
              </a:defRPr>
            </a:lvl5pPr>
          </a:lstStyle>
          <a:p>
            <a:pPr lvl="0"/>
            <a:r>
              <a:rPr lang="en-GB"/>
              <a:t>Image text</a:t>
            </a:r>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849" y="3145672"/>
            <a:ext cx="648677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spcAft>
                <a:spcPts val="0"/>
              </a:spcAft>
              <a:buNone/>
              <a:defRPr sz="353" b="1" cap="all" baseline="0"/>
            </a:lvl5pPr>
          </a:lstStyle>
          <a:p>
            <a:pPr lvl="0"/>
            <a:r>
              <a:rPr lang="en-GB"/>
              <a:t>Image Text</a:t>
            </a:r>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1086" y="5387953"/>
            <a:ext cx="1625811" cy="318166"/>
          </a:xfrm>
        </p:spPr>
        <p:txBody>
          <a:bodyPr lIns="0" anchor="b" anchorCtr="0"/>
          <a:lstStyle>
            <a:lvl1pPr marL="0" indent="0" algn="l">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4566" y="5387953"/>
            <a:ext cx="1628987"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indent="0">
              <a:lnSpc>
                <a:spcPct val="80000"/>
              </a:lnSpc>
              <a:spcAft>
                <a:spcPts val="0"/>
              </a:spcAft>
              <a:buNone/>
              <a:defRPr sz="353" b="1" cap="all" baseline="0"/>
            </a:lvl4pPr>
            <a:lvl5pPr indent="0">
              <a:lnSpc>
                <a:spcPct val="80000"/>
              </a:lnSpc>
              <a:spcAft>
                <a:spcPts val="0"/>
              </a:spcAft>
              <a:buNone/>
              <a:defRPr sz="353" b="1" cap="all" baseline="0"/>
            </a:lvl5pPr>
          </a:lstStyle>
          <a:p>
            <a:pPr lvl="0"/>
            <a:r>
              <a:rPr lang="en-GB"/>
              <a:t>Image text</a:t>
            </a:r>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8046" y="5387953"/>
            <a:ext cx="1630575" cy="318166"/>
          </a:xfrm>
        </p:spPr>
        <p:txBody>
          <a:bodyPr lIns="0" anchor="b" anchorCtr="0"/>
          <a:lstStyle>
            <a:lvl1pPr marL="0" indent="0">
              <a:lnSpc>
                <a:spcPct val="80000"/>
              </a:lnSpc>
              <a:spcAft>
                <a:spcPts val="0"/>
              </a:spcAft>
              <a:buNone/>
              <a:defRPr sz="353" b="1" cap="all" baseline="0"/>
            </a:lvl1pPr>
            <a:lvl2pPr marL="0" indent="0">
              <a:lnSpc>
                <a:spcPct val="80000"/>
              </a:lnSpc>
              <a:spcAft>
                <a:spcPts val="0"/>
              </a:spcAft>
              <a:buNone/>
              <a:defRPr sz="353" b="1" cap="all" baseline="0"/>
            </a:lvl2pPr>
            <a:lvl3pPr marL="0" indent="0">
              <a:lnSpc>
                <a:spcPct val="80000"/>
              </a:lnSpc>
              <a:spcAft>
                <a:spcPts val="0"/>
              </a:spcAft>
              <a:buNone/>
              <a:defRPr sz="353" b="1" cap="all" baseline="0"/>
            </a:lvl3pPr>
            <a:lvl4pPr>
              <a:lnSpc>
                <a:spcPct val="80000"/>
              </a:lnSpc>
              <a:spcAft>
                <a:spcPts val="0"/>
              </a:spcAft>
              <a:buNone/>
              <a:defRPr sz="353" b="1" cap="all" baseline="0"/>
            </a:lvl4pPr>
            <a:lvl5pPr>
              <a:lnSpc>
                <a:spcPct val="80000"/>
              </a:lnSpc>
              <a:spcAft>
                <a:spcPts val="0"/>
              </a:spcAft>
              <a:buNone/>
              <a:defRPr sz="353" b="1" cap="all" baseline="0"/>
            </a:lvl5pPr>
          </a:lstStyle>
          <a:p>
            <a:pPr lvl="0"/>
            <a:r>
              <a:rPr lang="en-GB"/>
              <a:t>Image text</a:t>
            </a:r>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619" y="1644652"/>
            <a:ext cx="3257974" cy="3744247"/>
          </a:xfrm>
          <a:solidFill>
            <a:srgbClr val="F6F6F4"/>
          </a:solidFill>
        </p:spPr>
        <p:txBody>
          <a:bodyPr tIns="0" anchor="t" anchorCtr="0"/>
          <a:lstStyle>
            <a:lvl1pPr marL="0" indent="0">
              <a:buNone/>
              <a:defRPr/>
            </a:lvl1pPr>
          </a:lstStyle>
          <a:p>
            <a:r>
              <a:rPr lang="en-GB" noProof="0"/>
              <a:t>Mark placeholder to insert image</a:t>
            </a:r>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1085" y="1644651"/>
            <a:ext cx="6517536" cy="1483526"/>
          </a:xfrm>
          <a:solidFill>
            <a:srgbClr val="F6F6F4"/>
          </a:solidFill>
        </p:spPr>
        <p:txBody>
          <a:bodyPr tIns="0" anchor="t" anchorCtr="0"/>
          <a:lstStyle>
            <a:lvl1pPr marL="0" indent="0">
              <a:buNone/>
              <a:defRPr/>
            </a:lvl1pPr>
          </a:lstStyle>
          <a:p>
            <a:r>
              <a:rPr lang="en-GB" noProof="0"/>
              <a:t>Mark placeholder to insert image</a:t>
            </a:r>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1085" y="3905096"/>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4566" y="3905375"/>
            <a:ext cx="1628987" cy="1483526"/>
          </a:xfrm>
          <a:solidFill>
            <a:srgbClr val="F6F6F4"/>
          </a:solidFill>
        </p:spPr>
        <p:txBody>
          <a:bodyPr tIns="0" anchor="t" anchorCtr="0"/>
          <a:lstStyle>
            <a:lvl1pPr marL="0" indent="0">
              <a:buNone/>
              <a:defRPr/>
            </a:lvl1pPr>
          </a:lstStyle>
          <a:p>
            <a:r>
              <a:rPr lang="en-GB" noProof="0"/>
              <a:t>Mark placeholder to insert image</a:t>
            </a:r>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8045" y="3905375"/>
            <a:ext cx="1630575" cy="1483526"/>
          </a:xfrm>
          <a:solidFill>
            <a:srgbClr val="F6F6F4"/>
          </a:solidFill>
        </p:spPr>
        <p:txBody>
          <a:bodyPr tIns="0" anchor="t" anchorCtr="0"/>
          <a:lstStyle>
            <a:lvl1pPr marL="0" indent="0">
              <a:buNone/>
              <a:defRPr/>
            </a:lvl1pPr>
          </a:lstStyle>
          <a:p>
            <a:r>
              <a:rPr lang="en-GB" noProof="0"/>
              <a:t>Mark placeholder to insert image</a:t>
            </a:r>
          </a:p>
        </p:txBody>
      </p:sp>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5944EB0A-8F31-4F12-A58B-82FA23A642B9}" type="datetime1">
              <a:rPr lang="en-GB" smtClean="0"/>
              <a:t>18/06/2024</a:t>
            </a:fld>
            <a:endParaRPr lang="en-GB"/>
          </a:p>
        </p:txBody>
      </p:sp>
    </p:spTree>
    <p:extLst>
      <p:ext uri="{BB962C8B-B14F-4D97-AF65-F5344CB8AC3E}">
        <p14:creationId xmlns:p14="http://schemas.microsoft.com/office/powerpoint/2010/main" val="31925310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7"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algn="ctr">
              <a:buNone/>
              <a:defRPr>
                <a:solidFill>
                  <a:schemeClr val="tx1"/>
                </a:solidFill>
              </a:defRPr>
            </a:lvl1pPr>
          </a:lstStyle>
          <a:p>
            <a:r>
              <a:rPr lang="en-GB" noProof="0"/>
              <a:t>Mark placeholder to insert image</a:t>
            </a:r>
          </a:p>
        </p:txBody>
      </p:sp>
      <p:sp>
        <p:nvSpPr>
          <p:cNvPr id="2" name="Title 1"/>
          <p:cNvSpPr>
            <a:spLocks noGrp="1"/>
          </p:cNvSpPr>
          <p:nvPr>
            <p:ph type="title"/>
          </p:nvPr>
        </p:nvSpPr>
        <p:spPr>
          <a:xfrm>
            <a:off x="817035" y="452439"/>
            <a:ext cx="10556574" cy="1056000"/>
          </a:xfrm>
        </p:spPr>
        <p:txBody>
          <a:bodyPr/>
          <a:lstStyle>
            <a:lvl1pPr>
              <a:defRPr>
                <a:solidFill>
                  <a:schemeClr val="tx2"/>
                </a:solidFill>
              </a:defRPr>
            </a:lvl1pPr>
          </a:lstStyle>
          <a:p>
            <a:r>
              <a:rPr lang="en-US" noProof="0"/>
              <a:t>Click to edit Master title style</a:t>
            </a:r>
            <a:endParaRPr lang="en-GB" noProof="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4765572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1"/>
            <a:ext cx="12191187" cy="68564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577"/>
          </a:p>
        </p:txBody>
      </p:sp>
      <p:sp>
        <p:nvSpPr>
          <p:cNvPr id="6" name="Picture Placeholder 5"/>
          <p:cNvSpPr>
            <a:spLocks noGrp="1"/>
          </p:cNvSpPr>
          <p:nvPr>
            <p:ph type="pic" sz="quarter" idx="10" hasCustomPrompt="1"/>
          </p:nvPr>
        </p:nvSpPr>
        <p:spPr>
          <a:xfrm>
            <a:off x="-1" y="0"/>
            <a:ext cx="12194788" cy="6860012"/>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617" y="6158174"/>
            <a:ext cx="1220559" cy="255541"/>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04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endParaRPr lang="en-DK"/>
          </a:p>
        </p:txBody>
      </p:sp>
    </p:spTree>
    <p:extLst>
      <p:ext uri="{BB962C8B-B14F-4D97-AF65-F5344CB8AC3E}">
        <p14:creationId xmlns:p14="http://schemas.microsoft.com/office/powerpoint/2010/main" val="37386470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618" y="1945915"/>
            <a:ext cx="7330441" cy="2768684"/>
          </a:xfrm>
        </p:spPr>
        <p:txBody>
          <a:bodyPr/>
          <a:lstStyle>
            <a:lvl1pPr>
              <a:defRPr sz="1026" b="0" cap="none">
                <a:solidFill>
                  <a:schemeClr val="tx1"/>
                </a:solidFill>
              </a:defRPr>
            </a:lvl1pPr>
          </a:lstStyle>
          <a:p>
            <a:r>
              <a:rPr lang="en-GB"/>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6073" y="5018936"/>
            <a:ext cx="7332990" cy="1084011"/>
          </a:xfrm>
        </p:spPr>
        <p:txBody>
          <a:bodyPr lIns="0"/>
          <a:lstStyle>
            <a:lvl1pPr marL="0" indent="0">
              <a:buFont typeface="Arial" panose="020B0604020202020204" pitchFamily="34" charset="0"/>
              <a:buChar char="​"/>
              <a:defRPr sz="513" baseline="0">
                <a:solidFill>
                  <a:schemeClr val="tx1"/>
                </a:solidFill>
              </a:defRPr>
            </a:lvl1pPr>
          </a:lstStyle>
          <a:p>
            <a:pPr lvl="0"/>
            <a:r>
              <a:rPr lang="en-GB"/>
              <a:t>Name, Title</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nr.›</a:t>
            </a:fld>
            <a:endParaRPr lang="en-GB"/>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542" y="2249831"/>
            <a:ext cx="1671854" cy="2829504"/>
          </a:xfrm>
          <a:prstGeom prst="rect">
            <a:avLst/>
          </a:prstGeom>
          <a:noFill/>
          <a:ln w="9525">
            <a:noFill/>
            <a:miter lim="800000"/>
            <a:headEnd/>
            <a:tailEnd/>
          </a:ln>
          <a:effectLst/>
        </p:spPr>
        <p:txBody>
          <a:bodyPr vert="horz" wrap="square" lIns="11546" tIns="0" rIns="0" bIns="0" numCol="1" rtlCol="0" anchor="t" anchorCtr="0" compatLnSpc="1">
            <a:prstTxWarp prst="textNoShape">
              <a:avLst/>
            </a:prstTxWarp>
            <a:noAutofit/>
          </a:bodyPr>
          <a:lstStyle/>
          <a:p>
            <a:pPr marL="4073" marR="0" indent="-8145" algn="l" defTabSz="146621" rtl="0" eaLnBrk="0" fontAlgn="base" latinLnBrk="0" hangingPunct="0">
              <a:lnSpc>
                <a:spcPts val="694"/>
              </a:lnSpc>
              <a:spcBef>
                <a:spcPct val="0"/>
              </a:spcBef>
              <a:spcAft>
                <a:spcPts val="481"/>
              </a:spcAft>
              <a:buClrTx/>
              <a:buSzTx/>
              <a:tabLst/>
            </a:pPr>
            <a:r>
              <a:rPr kumimoji="0" lang="en-GB" sz="6382"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617" y="6158175"/>
            <a:ext cx="1219359" cy="25711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29326" tIns="14663" rIns="29326" bIns="14663" numCol="1" anchor="t" anchorCtr="0" compatLnSpc="1">
            <a:prstTxWarp prst="textNoShape">
              <a:avLst/>
            </a:prstTxWarp>
          </a:bodyPr>
          <a:lstStyle/>
          <a:p>
            <a:endParaRPr lang="en-GB" sz="577"/>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tx1"/>
                </a:solidFill>
              </a:defRPr>
            </a:lvl1pPr>
          </a:lstStyle>
          <a:p>
            <a:pPr algn="r"/>
            <a:endParaRPr lang="en-GB"/>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A8D4E2C-4AD4-4902-9AA6-258C412AEED1}" type="datetime1">
              <a:rPr lang="en-GB" smtClean="0"/>
              <a:t>18/06/2024</a:t>
            </a:fld>
            <a:endParaRPr lang="en-GB"/>
          </a:p>
        </p:txBody>
      </p:sp>
    </p:spTree>
    <p:extLst>
      <p:ext uri="{BB962C8B-B14F-4D97-AF65-F5344CB8AC3E}">
        <p14:creationId xmlns:p14="http://schemas.microsoft.com/office/powerpoint/2010/main" val="3416332022"/>
      </p:ext>
    </p:extLst>
  </p:cSld>
  <p:clrMapOvr>
    <a:overrideClrMapping bg1="dk1" tx1="lt1" bg2="dk2" tx2="lt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617" y="452439"/>
            <a:ext cx="10590003" cy="748626"/>
          </a:xfrm>
        </p:spPr>
        <p:txBody>
          <a:bodyPr/>
          <a:lstStyle/>
          <a:p>
            <a:r>
              <a:rPr lang="en-US"/>
              <a:t>Click to edit Master title style</a:t>
            </a:r>
            <a:endParaRPr lang="en-GB"/>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F2E10D1A-D613-41CE-B02A-846290684BA0}" type="datetime1">
              <a:rPr lang="en-GB" smtClean="0"/>
              <a:t>18/06/2024</a:t>
            </a:fld>
            <a:endParaRPr lang="en-GB"/>
          </a:p>
        </p:txBody>
      </p:sp>
    </p:spTree>
    <p:extLst>
      <p:ext uri="{BB962C8B-B14F-4D97-AF65-F5344CB8AC3E}">
        <p14:creationId xmlns:p14="http://schemas.microsoft.com/office/powerpoint/2010/main" val="122514384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nr.›</a:t>
            </a:fld>
            <a:endParaRPr lang="en-GB"/>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47FB7D42-25F0-4925-AB91-37097B4A81F1}" type="datetime1">
              <a:rPr lang="en-GB" smtClean="0"/>
              <a:t>18/06/2024</a:t>
            </a:fld>
            <a:endParaRPr lang="en-GB"/>
          </a:p>
        </p:txBody>
      </p:sp>
    </p:spTree>
    <p:extLst>
      <p:ext uri="{BB962C8B-B14F-4D97-AF65-F5344CB8AC3E}">
        <p14:creationId xmlns:p14="http://schemas.microsoft.com/office/powerpoint/2010/main" val="11638281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2" name="Title Placeholder 1"/>
          <p:cNvSpPr>
            <a:spLocks noGrp="1"/>
          </p:cNvSpPr>
          <p:nvPr>
            <p:ph type="ctrTitle"/>
          </p:nvPr>
        </p:nvSpPr>
        <p:spPr>
          <a:xfrm>
            <a:off x="798617" y="452440"/>
            <a:ext cx="10590003" cy="1196444"/>
          </a:xfrm>
        </p:spPr>
        <p:txBody>
          <a:bodyPr tIns="0"/>
          <a:lstStyle>
            <a:lvl1pPr>
              <a:defRPr sz="1026" cap="all" baseline="0" smtClean="0">
                <a:solidFill>
                  <a:schemeClr val="bg1"/>
                </a:solidFill>
                <a:latin typeface="Verdana" pitchFamily="34" charset="0"/>
              </a:defRPr>
            </a:lvl1pPr>
          </a:lstStyle>
          <a:p>
            <a:r>
              <a:rPr lang="en-US" noProof="0"/>
              <a:t>Click to edit Master title style</a:t>
            </a:r>
            <a:endParaRPr lang="en-GB" noProof="0"/>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18/06/2024</a:t>
            </a:fld>
            <a:endParaRPr lang="en-GB"/>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617" y="6158174"/>
            <a:ext cx="2826368" cy="255541"/>
          </a:xfrm>
          <a:blipFill>
            <a:blip r:embed="rId2"/>
            <a:stretch>
              <a:fillRect/>
            </a:stretch>
          </a:blipFill>
        </p:spPr>
        <p:txBody>
          <a:bodyPr/>
          <a:lstStyle>
            <a:lvl1pPr marL="0" indent="0">
              <a:buNone/>
              <a:defRPr sz="100">
                <a:noFill/>
              </a:defRPr>
            </a:lvl1pPr>
          </a:lstStyle>
          <a:p>
            <a:pPr lvl="0"/>
            <a:r>
              <a:rPr lang="en-US"/>
              <a:t>.</a:t>
            </a:r>
          </a:p>
        </p:txBody>
      </p:sp>
    </p:spTree>
    <p:extLst>
      <p:ext uri="{BB962C8B-B14F-4D97-AF65-F5344CB8AC3E}">
        <p14:creationId xmlns:p14="http://schemas.microsoft.com/office/powerpoint/2010/main" val="3827054176"/>
      </p:ext>
    </p:extLst>
  </p:cSld>
  <p:clrMapOvr>
    <a:overrideClrMapping bg1="lt1" tx1="dk1" bg2="lt2" tx2="dk2" accent1="accent1" accent2="accent2" accent3="accent3" accent4="accent4" accent5="accent5" accent6="accent6" hlink="hlink" folHlink="folHlink"/>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619" y="452439"/>
            <a:ext cx="4886960" cy="4431940"/>
          </a:xfrm>
        </p:spPr>
        <p:txBody>
          <a:bodyPr/>
          <a:lstStyle>
            <a:lvl1pPr>
              <a:defRPr>
                <a:solidFill>
                  <a:schemeClr val="bg1"/>
                </a:solidFill>
              </a:defRPr>
            </a:lvl1pPr>
          </a:lstStyle>
          <a:p>
            <a:r>
              <a:rPr lang="en-GB"/>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619" y="4970200"/>
            <a:ext cx="4886960" cy="365370"/>
          </a:xfrm>
        </p:spPr>
        <p:txBody>
          <a:bodyPr lIns="0" anchor="b" anchorCtr="0"/>
          <a:lstStyle>
            <a:lvl1pPr marL="0" indent="0">
              <a:buFont typeface="Arial" panose="020B0604020202020204" pitchFamily="34" charset="0"/>
              <a:buChar char="​"/>
              <a:defRPr sz="513">
                <a:solidFill>
                  <a:schemeClr val="bg1"/>
                </a:solidFill>
              </a:defRPr>
            </a:lvl1pPr>
          </a:lstStyle>
          <a:p>
            <a:pPr lvl="0"/>
            <a:r>
              <a:rPr lang="en-GB"/>
              <a:t>Name, Department </a:t>
            </a:r>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619" y="5332765"/>
            <a:ext cx="4886960" cy="424314"/>
          </a:xfrm>
        </p:spPr>
        <p:txBody>
          <a:bodyPr/>
          <a:lstStyle>
            <a:lvl1pPr marL="0" indent="0">
              <a:spcAft>
                <a:spcPts val="0"/>
              </a:spcAft>
              <a:buFontTx/>
              <a:buNone/>
              <a:defRPr sz="513">
                <a:solidFill>
                  <a:schemeClr val="bg1"/>
                </a:solidFill>
              </a:defRPr>
            </a:lvl1pPr>
            <a:lvl2pPr marL="126995" indent="0">
              <a:buFontTx/>
              <a:buNone/>
              <a:defRPr sz="513">
                <a:solidFill>
                  <a:schemeClr val="bg1"/>
                </a:solidFill>
              </a:defRPr>
            </a:lvl2pPr>
            <a:lvl3pPr marL="233208" indent="0">
              <a:buFontTx/>
              <a:buNone/>
              <a:defRPr sz="513">
                <a:solidFill>
                  <a:schemeClr val="bg1"/>
                </a:solidFill>
              </a:defRPr>
            </a:lvl3pPr>
            <a:lvl4pPr>
              <a:buFontTx/>
              <a:buNone/>
              <a:defRPr sz="513">
                <a:solidFill>
                  <a:schemeClr val="bg1"/>
                </a:solidFill>
              </a:defRPr>
            </a:lvl4pPr>
            <a:lvl5pPr>
              <a:buFontTx/>
              <a:buNone/>
              <a:defRPr sz="513">
                <a:solidFill>
                  <a:schemeClr val="bg1"/>
                </a:solidFill>
              </a:defRPr>
            </a:lvl5pPr>
          </a:lstStyle>
          <a:p>
            <a:pPr lvl="0"/>
            <a:r>
              <a:rPr lang="en-GB"/>
              <a:t>xxx@ramboll.com</a:t>
            </a:r>
          </a:p>
        </p:txBody>
      </p:sp>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5E849237-3873-4459-A547-67B1C8011873}" type="datetime1">
              <a:rPr lang="en-GB" smtClean="0"/>
              <a:t>18/06/2024</a:t>
            </a:fld>
            <a:endParaRPr lang="en-GB"/>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618" y="6158174"/>
            <a:ext cx="2826825" cy="255541"/>
          </a:xfrm>
          <a:prstGeom prst="rect">
            <a:avLst/>
          </a:prstGeom>
        </p:spPr>
      </p:pic>
    </p:spTree>
    <p:extLst>
      <p:ext uri="{BB962C8B-B14F-4D97-AF65-F5344CB8AC3E}">
        <p14:creationId xmlns:p14="http://schemas.microsoft.com/office/powerpoint/2010/main" val="3351188267"/>
      </p:ext>
    </p:extLst>
  </p:cSld>
  <p:clrMapOvr>
    <a:overrideClrMapping bg1="lt1" tx1="dk1" bg2="lt2" tx2="dk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1" y="0"/>
            <a:ext cx="12192000" cy="6858000"/>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29325" tIns="14663" rIns="29325" bIns="14663" rtlCol="0" anchor="ctr"/>
          <a:lstStyle/>
          <a:p>
            <a:pPr algn="ctr"/>
            <a:endParaRPr lang="en-GB" sz="577" noProof="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1" y="1240"/>
            <a:ext cx="12192000" cy="6855521"/>
          </a:xfrm>
          <a:prstGeom prst="rect">
            <a:avLst/>
          </a:prstGeom>
        </p:spPr>
      </p:pic>
      <p:sp>
        <p:nvSpPr>
          <p:cNvPr id="12" name="SD_FLD_DocumentDate"/>
          <p:cNvSpPr txBox="1"/>
          <p:nvPr userDrawn="1"/>
        </p:nvSpPr>
        <p:spPr bwMode="auto">
          <a:xfrm>
            <a:off x="6093001" y="62805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3001" y="6128101"/>
            <a:ext cx="5260800" cy="158400"/>
          </a:xfrm>
          <a:prstGeom prst="rect">
            <a:avLst/>
          </a:prstGeom>
          <a:noFill/>
          <a:ln w="9525">
            <a:noFill/>
            <a:miter lim="800000"/>
            <a:headEnd/>
            <a:tailEnd/>
          </a:ln>
          <a:effectLst/>
        </p:spPr>
        <p:txBody>
          <a:bodyPr vert="horz" wrap="square" lIns="11545" tIns="0" rIns="0" bIns="0" numCol="1" rtlCol="0" anchor="ctr" anchorCtr="0" compatLnSpc="1">
            <a:prstTxWarp prst="textNoShape">
              <a:avLst/>
            </a:prstTxWarp>
            <a:noAutofit/>
          </a:bodyPr>
          <a:lstStyle/>
          <a:p>
            <a:pPr marL="0" marR="0" indent="0" algn="r" defTabSz="146618" rtl="0" eaLnBrk="0" fontAlgn="base" latinLnBrk="0" hangingPunct="0">
              <a:lnSpc>
                <a:spcPct val="100000"/>
              </a:lnSpc>
              <a:spcBef>
                <a:spcPts val="154"/>
              </a:spcBef>
              <a:spcAft>
                <a:spcPts val="0"/>
              </a:spcAft>
              <a:buClrTx/>
              <a:buSzTx/>
              <a:tabLst/>
            </a:pPr>
            <a:endParaRPr kumimoji="0" lang="en-GB" sz="257" b="0" i="0" u="none" strike="noStrike" kern="1200" cap="all" spc="0" normalizeH="0" baseline="0" noProof="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nr.›</a:t>
            </a:fld>
            <a:endParaRPr lang="en-GB"/>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604" y="6280502"/>
            <a:ext cx="8144936" cy="155620"/>
          </a:xfrm>
          <a:prstGeom prst="rect">
            <a:avLst/>
          </a:prstGeom>
        </p:spPr>
        <p:txBody>
          <a:bodyPr vert="horz" wrap="square" lIns="0" tIns="0" rIns="0" bIns="0" numCol="1" anchor="ctr" anchorCtr="0" compatLnSpc="1">
            <a:prstTxWarp prst="textNoShape">
              <a:avLst/>
            </a:prstTxWarp>
          </a:bodyPr>
          <a:lstStyle>
            <a:lvl1pPr>
              <a:defRPr lang="en-GB" sz="257" baseline="0">
                <a:solidFill>
                  <a:schemeClr val="bg1"/>
                </a:solidFill>
              </a:defRPr>
            </a:lvl1pPr>
          </a:lstStyle>
          <a:p>
            <a:pPr algn="r"/>
            <a:endParaRPr lang="en-GB"/>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bg1"/>
                </a:solidFill>
              </a:defRPr>
            </a:lvl1pPr>
          </a:lstStyle>
          <a:p>
            <a:pPr algn="r"/>
            <a:fld id="{9270F80D-0DED-41DC-8003-ACA44099192B}" type="datetime1">
              <a:rPr lang="en-GB" smtClean="0"/>
              <a:t>18/06/2024</a:t>
            </a:fld>
            <a:endParaRPr lang="en-GB"/>
          </a:p>
        </p:txBody>
      </p:sp>
    </p:spTree>
    <p:extLst>
      <p:ext uri="{BB962C8B-B14F-4D97-AF65-F5344CB8AC3E}">
        <p14:creationId xmlns:p14="http://schemas.microsoft.com/office/powerpoint/2010/main" val="1343796918"/>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F82B57-A829-4941-8BAC-1FE0A02EC16E}"/>
              </a:ext>
            </a:extLst>
          </p:cNvPr>
          <p:cNvGraphicFramePr>
            <a:graphicFrameLocks noChangeAspect="1"/>
          </p:cNvGraphicFramePr>
          <p:nvPr userDrawn="1">
            <p:custDataLst>
              <p:tags r:id="rId1"/>
            </p:custDataLst>
            <p:extLst>
              <p:ext uri="{D42A27DB-BD31-4B8C-83A1-F6EECF244321}">
                <p14:modId xmlns:p14="http://schemas.microsoft.com/office/powerpoint/2010/main" val="1708148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F7F82B57-A829-4941-8BAC-1FE0A02EC1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8247501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D3BE60-37F6-4FB6-8D33-8CFF25DED6D0}"/>
              </a:ext>
            </a:extLst>
          </p:cNvPr>
          <p:cNvGraphicFramePr>
            <a:graphicFrameLocks noChangeAspect="1"/>
          </p:cNvGraphicFramePr>
          <p:nvPr userDrawn="1">
            <p:custDataLst>
              <p:tags r:id="rId1"/>
            </p:custDataLst>
            <p:extLst>
              <p:ext uri="{D42A27DB-BD31-4B8C-83A1-F6EECF244321}">
                <p14:modId xmlns:p14="http://schemas.microsoft.com/office/powerpoint/2010/main" val="2595105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54D3BE60-37F6-4FB6-8D33-8CFF25DED6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261030656"/>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4BA132-22C9-4678-8278-1658D4954BF9}"/>
              </a:ext>
            </a:extLst>
          </p:cNvPr>
          <p:cNvGraphicFramePr>
            <a:graphicFrameLocks noChangeAspect="1"/>
          </p:cNvGraphicFramePr>
          <p:nvPr userDrawn="1">
            <p:custDataLst>
              <p:tags r:id="rId1"/>
            </p:custDataLst>
            <p:extLst>
              <p:ext uri="{D42A27DB-BD31-4B8C-83A1-F6EECF244321}">
                <p14:modId xmlns:p14="http://schemas.microsoft.com/office/powerpoint/2010/main" val="3953220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E4BA132-22C9-4678-8278-1658D4954B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36716850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808A3D5-478B-48A8-8581-C5B287E7C208}"/>
              </a:ext>
            </a:extLst>
          </p:cNvPr>
          <p:cNvGraphicFramePr>
            <a:graphicFrameLocks noChangeAspect="1"/>
          </p:cNvGraphicFramePr>
          <p:nvPr userDrawn="1">
            <p:custDataLst>
              <p:tags r:id="rId1"/>
            </p:custDataLst>
            <p:extLst>
              <p:ext uri="{D42A27DB-BD31-4B8C-83A1-F6EECF244321}">
                <p14:modId xmlns:p14="http://schemas.microsoft.com/office/powerpoint/2010/main" val="320691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808A3D5-478B-48A8-8581-C5B287E7C2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70262089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076188E-E253-4A4B-BD8D-1783856CAA04}"/>
              </a:ext>
            </a:extLst>
          </p:cNvPr>
          <p:cNvGraphicFramePr>
            <a:graphicFrameLocks noChangeAspect="1"/>
          </p:cNvGraphicFramePr>
          <p:nvPr userDrawn="1">
            <p:custDataLst>
              <p:tags r:id="rId1"/>
            </p:custDataLst>
            <p:extLst>
              <p:ext uri="{D42A27DB-BD31-4B8C-83A1-F6EECF244321}">
                <p14:modId xmlns:p14="http://schemas.microsoft.com/office/powerpoint/2010/main" val="4136364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076188E-E253-4A4B-BD8D-1783856CA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18.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9696354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B46BAA-A2E8-457D-94AC-1857CC2E6494}"/>
              </a:ext>
            </a:extLst>
          </p:cNvPr>
          <p:cNvGraphicFramePr>
            <a:graphicFrameLocks noChangeAspect="1"/>
          </p:cNvGraphicFramePr>
          <p:nvPr userDrawn="1">
            <p:custDataLst>
              <p:tags r:id="rId1"/>
            </p:custDataLst>
            <p:extLst>
              <p:ext uri="{D42A27DB-BD31-4B8C-83A1-F6EECF244321}">
                <p14:modId xmlns:p14="http://schemas.microsoft.com/office/powerpoint/2010/main" val="1559861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01B46BAA-A2E8-457D-94AC-1857CC2E64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4356286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9C1A5A-EB28-4216-AC93-A944D445B0E8}"/>
              </a:ext>
            </a:extLst>
          </p:cNvPr>
          <p:cNvGraphicFramePr>
            <a:graphicFrameLocks noChangeAspect="1"/>
          </p:cNvGraphicFramePr>
          <p:nvPr userDrawn="1">
            <p:custDataLst>
              <p:tags r:id="rId1"/>
            </p:custDataLst>
            <p:extLst>
              <p:ext uri="{D42A27DB-BD31-4B8C-83A1-F6EECF244321}">
                <p14:modId xmlns:p14="http://schemas.microsoft.com/office/powerpoint/2010/main" val="47672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E9C1A5A-EB28-4216-AC93-A944D445B0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57416277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60DACD-5627-4F02-A9F8-42F94F50466D}"/>
              </a:ext>
            </a:extLst>
          </p:cNvPr>
          <p:cNvGraphicFramePr>
            <a:graphicFrameLocks noChangeAspect="1"/>
          </p:cNvGraphicFramePr>
          <p:nvPr userDrawn="1">
            <p:custDataLst>
              <p:tags r:id="rId1"/>
            </p:custDataLst>
            <p:extLst>
              <p:ext uri="{D42A27DB-BD31-4B8C-83A1-F6EECF244321}">
                <p14:modId xmlns:p14="http://schemas.microsoft.com/office/powerpoint/2010/main" val="3428621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B60DACD-5627-4F02-A9F8-42F94F5046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18.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553665518"/>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D67D169-DC2C-4C1E-847B-EE1C8436024E}"/>
              </a:ext>
            </a:extLst>
          </p:cNvPr>
          <p:cNvGraphicFramePr>
            <a:graphicFrameLocks noChangeAspect="1"/>
          </p:cNvGraphicFramePr>
          <p:nvPr userDrawn="1">
            <p:custDataLst>
              <p:tags r:id="rId1"/>
            </p:custDataLst>
            <p:extLst>
              <p:ext uri="{D42A27DB-BD31-4B8C-83A1-F6EECF244321}">
                <p14:modId xmlns:p14="http://schemas.microsoft.com/office/powerpoint/2010/main" val="299017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7D67D169-DC2C-4C1E-847B-EE1C843602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50232252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DE568B4-F905-46CA-9BB1-DEA2C5A448B9}"/>
              </a:ext>
            </a:extLst>
          </p:cNvPr>
          <p:cNvGraphicFramePr>
            <a:graphicFrameLocks noChangeAspect="1"/>
          </p:cNvGraphicFramePr>
          <p:nvPr userDrawn="1">
            <p:custDataLst>
              <p:tags r:id="rId1"/>
            </p:custDataLst>
            <p:extLst>
              <p:ext uri="{D42A27DB-BD31-4B8C-83A1-F6EECF244321}">
                <p14:modId xmlns:p14="http://schemas.microsoft.com/office/powerpoint/2010/main" val="136456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EDE568B4-F905-46CA-9BB1-DEA2C5A448B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18.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79330793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740CFA-D8D0-47FA-977A-041A1AEF5272}"/>
              </a:ext>
            </a:extLst>
          </p:cNvPr>
          <p:cNvGraphicFramePr>
            <a:graphicFrameLocks noChangeAspect="1"/>
          </p:cNvGraphicFramePr>
          <p:nvPr userDrawn="1">
            <p:custDataLst>
              <p:tags r:id="rId1"/>
            </p:custDataLst>
            <p:extLst>
              <p:ext uri="{D42A27DB-BD31-4B8C-83A1-F6EECF244321}">
                <p14:modId xmlns:p14="http://schemas.microsoft.com/office/powerpoint/2010/main" val="77703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3740CFA-D8D0-47FA-977A-041A1AEF52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60054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BDDF649-3F2F-4F6B-B786-8C0CF77586C4}"/>
              </a:ext>
            </a:extLst>
          </p:cNvPr>
          <p:cNvGraphicFramePr>
            <a:graphicFrameLocks noChangeAspect="1"/>
          </p:cNvGraphicFramePr>
          <p:nvPr userDrawn="1">
            <p:custDataLst>
              <p:tags r:id="rId1"/>
            </p:custDataLst>
            <p:extLst>
              <p:ext uri="{D42A27DB-BD31-4B8C-83A1-F6EECF244321}">
                <p14:modId xmlns:p14="http://schemas.microsoft.com/office/powerpoint/2010/main" val="778587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BDDF649-3F2F-4F6B-B786-8C0CF77586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86216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EF20F4B-6951-4CEB-845B-4EE79F2B6881}"/>
              </a:ext>
            </a:extLst>
          </p:cNvPr>
          <p:cNvGraphicFramePr>
            <a:graphicFrameLocks noChangeAspect="1"/>
          </p:cNvGraphicFramePr>
          <p:nvPr userDrawn="1">
            <p:custDataLst>
              <p:tags r:id="rId1"/>
            </p:custDataLst>
            <p:extLst>
              <p:ext uri="{D42A27DB-BD31-4B8C-83A1-F6EECF244321}">
                <p14:modId xmlns:p14="http://schemas.microsoft.com/office/powerpoint/2010/main" val="1198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EF20F4B-6951-4CEB-845B-4EE79F2B6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247462000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7C75E44-E8D7-4390-A552-8BCF697EBDF3}"/>
              </a:ext>
            </a:extLst>
          </p:cNvPr>
          <p:cNvGraphicFramePr>
            <a:graphicFrameLocks noChangeAspect="1"/>
          </p:cNvGraphicFramePr>
          <p:nvPr userDrawn="1">
            <p:custDataLst>
              <p:tags r:id="rId1"/>
            </p:custDataLst>
            <p:extLst>
              <p:ext uri="{D42A27DB-BD31-4B8C-83A1-F6EECF244321}">
                <p14:modId xmlns:p14="http://schemas.microsoft.com/office/powerpoint/2010/main" val="182054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17C75E44-E8D7-4390-A552-8BCF697EBD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4830644"/>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00FB85-A754-4E47-8C8C-87941D6B2819}"/>
              </a:ext>
            </a:extLst>
          </p:cNvPr>
          <p:cNvGraphicFramePr>
            <a:graphicFrameLocks noChangeAspect="1"/>
          </p:cNvGraphicFramePr>
          <p:nvPr userDrawn="1">
            <p:custDataLst>
              <p:tags r:id="rId1"/>
            </p:custDataLst>
            <p:extLst>
              <p:ext uri="{D42A27DB-BD31-4B8C-83A1-F6EECF244321}">
                <p14:modId xmlns:p14="http://schemas.microsoft.com/office/powerpoint/2010/main" val="390953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C500FB85-A754-4E47-8C8C-87941D6B2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18.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1845920254"/>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1A2EA8C-0D85-4C0B-ACDB-A259F1408229}"/>
              </a:ext>
            </a:extLst>
          </p:cNvPr>
          <p:cNvGraphicFramePr>
            <a:graphicFrameLocks noChangeAspect="1"/>
          </p:cNvGraphicFramePr>
          <p:nvPr userDrawn="1">
            <p:custDataLst>
              <p:tags r:id="rId1"/>
            </p:custDataLst>
            <p:extLst>
              <p:ext uri="{D42A27DB-BD31-4B8C-83A1-F6EECF244321}">
                <p14:modId xmlns:p14="http://schemas.microsoft.com/office/powerpoint/2010/main" val="3745654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C1A2EA8C-0D85-4C0B-ACDB-A259F14082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18.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590505054"/>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1B1DCF9-DF37-48BB-9DF8-64E9ADDE1E7E}"/>
              </a:ext>
            </a:extLst>
          </p:cNvPr>
          <p:cNvGraphicFramePr>
            <a:graphicFrameLocks noChangeAspect="1"/>
          </p:cNvGraphicFramePr>
          <p:nvPr userDrawn="1">
            <p:custDataLst>
              <p:tags r:id="rId1"/>
            </p:custDataLst>
            <p:extLst>
              <p:ext uri="{D42A27DB-BD31-4B8C-83A1-F6EECF244321}">
                <p14:modId xmlns:p14="http://schemas.microsoft.com/office/powerpoint/2010/main" val="17873014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1B1DCF9-DF37-48BB-9DF8-64E9ADDE1E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766716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02D016-0FC6-4114-A928-57BCB225D30C}"/>
              </a:ext>
            </a:extLst>
          </p:cNvPr>
          <p:cNvGraphicFramePr>
            <a:graphicFrameLocks noChangeAspect="1"/>
          </p:cNvGraphicFramePr>
          <p:nvPr userDrawn="1">
            <p:custDataLst>
              <p:tags r:id="rId1"/>
            </p:custDataLst>
            <p:extLst>
              <p:ext uri="{D42A27DB-BD31-4B8C-83A1-F6EECF244321}">
                <p14:modId xmlns:p14="http://schemas.microsoft.com/office/powerpoint/2010/main" val="957947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A02D016-0FC6-4114-A928-57BCB225D3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18.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2475563379"/>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6E0B296-B989-41FA-8D8F-F0016D23F026}"/>
              </a:ext>
            </a:extLst>
          </p:cNvPr>
          <p:cNvGraphicFramePr>
            <a:graphicFrameLocks noChangeAspect="1"/>
          </p:cNvGraphicFramePr>
          <p:nvPr userDrawn="1">
            <p:custDataLst>
              <p:tags r:id="rId1"/>
            </p:custDataLst>
            <p:extLst>
              <p:ext uri="{D42A27DB-BD31-4B8C-83A1-F6EECF244321}">
                <p14:modId xmlns:p14="http://schemas.microsoft.com/office/powerpoint/2010/main" val="2651852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6E0B296-B989-41FA-8D8F-F0016D23F0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18.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68981122"/>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9D3CCD-B301-47C4-A93F-E7AE8BEC37C6}"/>
              </a:ext>
            </a:extLst>
          </p:cNvPr>
          <p:cNvGraphicFramePr>
            <a:graphicFrameLocks noChangeAspect="1"/>
          </p:cNvGraphicFramePr>
          <p:nvPr userDrawn="1">
            <p:custDataLst>
              <p:tags r:id="rId1"/>
            </p:custDataLst>
            <p:extLst>
              <p:ext uri="{D42A27DB-BD31-4B8C-83A1-F6EECF244321}">
                <p14:modId xmlns:p14="http://schemas.microsoft.com/office/powerpoint/2010/main" val="2940210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C9D3CCD-B301-47C4-A93F-E7AE8BEC37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18.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751567655"/>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D076864-73B2-46AC-82B9-3F6ED290747F}"/>
              </a:ext>
            </a:extLst>
          </p:cNvPr>
          <p:cNvGraphicFramePr>
            <a:graphicFrameLocks noChangeAspect="1"/>
          </p:cNvGraphicFramePr>
          <p:nvPr userDrawn="1">
            <p:custDataLst>
              <p:tags r:id="rId1"/>
            </p:custDataLst>
            <p:extLst>
              <p:ext uri="{D42A27DB-BD31-4B8C-83A1-F6EECF244321}">
                <p14:modId xmlns:p14="http://schemas.microsoft.com/office/powerpoint/2010/main" val="196677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6D076864-73B2-46AC-82B9-3F6ED29074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18.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09792071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AA7D7B5-B60E-4F01-A5D4-9EC13B1333FC}"/>
              </a:ext>
            </a:extLst>
          </p:cNvPr>
          <p:cNvGraphicFramePr>
            <a:graphicFrameLocks noChangeAspect="1"/>
          </p:cNvGraphicFramePr>
          <p:nvPr userDrawn="1">
            <p:custDataLst>
              <p:tags r:id="rId1"/>
            </p:custDataLst>
            <p:extLst>
              <p:ext uri="{D42A27DB-BD31-4B8C-83A1-F6EECF244321}">
                <p14:modId xmlns:p14="http://schemas.microsoft.com/office/powerpoint/2010/main" val="278332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6AA7D7B5-B60E-4F01-A5D4-9EC13B1333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18.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633085674"/>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C4A377-AF00-475C-BBCA-2D62E63D9C7A}"/>
              </a:ext>
            </a:extLst>
          </p:cNvPr>
          <p:cNvGraphicFramePr>
            <a:graphicFrameLocks noChangeAspect="1"/>
          </p:cNvGraphicFramePr>
          <p:nvPr userDrawn="1">
            <p:custDataLst>
              <p:tags r:id="rId1"/>
            </p:custDataLst>
            <p:extLst>
              <p:ext uri="{D42A27DB-BD31-4B8C-83A1-F6EECF244321}">
                <p14:modId xmlns:p14="http://schemas.microsoft.com/office/powerpoint/2010/main" val="51601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3C4A377-AF00-475C-BBCA-2D62E63D9C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18.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914093151"/>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15C503-7C78-46DF-824F-5975E435B442}"/>
              </a:ext>
            </a:extLst>
          </p:cNvPr>
          <p:cNvGraphicFramePr>
            <a:graphicFrameLocks noChangeAspect="1"/>
          </p:cNvGraphicFramePr>
          <p:nvPr userDrawn="1">
            <p:custDataLst>
              <p:tags r:id="rId1"/>
            </p:custDataLst>
            <p:extLst>
              <p:ext uri="{D42A27DB-BD31-4B8C-83A1-F6EECF244321}">
                <p14:modId xmlns:p14="http://schemas.microsoft.com/office/powerpoint/2010/main" val="7041131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A15C503-7C78-46DF-824F-5975E435B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18.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40962776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4E480AF-7764-47E3-A9F5-384AC9908E98}"/>
              </a:ext>
            </a:extLst>
          </p:cNvPr>
          <p:cNvGraphicFramePr>
            <a:graphicFrameLocks noChangeAspect="1"/>
          </p:cNvGraphicFramePr>
          <p:nvPr userDrawn="1">
            <p:custDataLst>
              <p:tags r:id="rId1"/>
            </p:custDataLst>
            <p:extLst>
              <p:ext uri="{D42A27DB-BD31-4B8C-83A1-F6EECF244321}">
                <p14:modId xmlns:p14="http://schemas.microsoft.com/office/powerpoint/2010/main" val="238952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4E480AF-7764-47E3-A9F5-384AC9908E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18.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95980719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B6F77EE-4F2E-4D86-86A3-96B21BDC1F10}"/>
              </a:ext>
            </a:extLst>
          </p:cNvPr>
          <p:cNvGraphicFramePr>
            <a:graphicFrameLocks noChangeAspect="1"/>
          </p:cNvGraphicFramePr>
          <p:nvPr userDrawn="1">
            <p:custDataLst>
              <p:tags r:id="rId1"/>
            </p:custDataLst>
            <p:extLst>
              <p:ext uri="{D42A27DB-BD31-4B8C-83A1-F6EECF244321}">
                <p14:modId xmlns:p14="http://schemas.microsoft.com/office/powerpoint/2010/main" val="1514389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B6F77EE-4F2E-4D86-86A3-96B21BDC1F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18.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766435223"/>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90DB989-1269-4FDF-9A6E-D44A24AEC686}"/>
              </a:ext>
            </a:extLst>
          </p:cNvPr>
          <p:cNvGraphicFramePr>
            <a:graphicFrameLocks noChangeAspect="1"/>
          </p:cNvGraphicFramePr>
          <p:nvPr userDrawn="1">
            <p:custDataLst>
              <p:tags r:id="rId1"/>
            </p:custDataLst>
            <p:extLst>
              <p:ext uri="{D42A27DB-BD31-4B8C-83A1-F6EECF244321}">
                <p14:modId xmlns:p14="http://schemas.microsoft.com/office/powerpoint/2010/main" val="3523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C90DB989-1269-4FDF-9A6E-D44A24AEC6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18.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08307709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DC2A11-1DD0-425F-A52D-2082C12E4E36}"/>
              </a:ext>
            </a:extLst>
          </p:cNvPr>
          <p:cNvGraphicFramePr>
            <a:graphicFrameLocks noChangeAspect="1"/>
          </p:cNvGraphicFramePr>
          <p:nvPr userDrawn="1">
            <p:custDataLst>
              <p:tags r:id="rId1"/>
            </p:custDataLst>
            <p:extLst>
              <p:ext uri="{D42A27DB-BD31-4B8C-83A1-F6EECF244321}">
                <p14:modId xmlns:p14="http://schemas.microsoft.com/office/powerpoint/2010/main" val="2765510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36DC2A11-1DD0-425F-A52D-2082C12E4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474321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920216F-6E12-4240-AB6D-EF417D72D626}"/>
              </a:ext>
            </a:extLst>
          </p:cNvPr>
          <p:cNvGraphicFramePr>
            <a:graphicFrameLocks noChangeAspect="1"/>
          </p:cNvGraphicFramePr>
          <p:nvPr userDrawn="1">
            <p:custDataLst>
              <p:tags r:id="rId1"/>
            </p:custDataLst>
            <p:extLst>
              <p:ext uri="{D42A27DB-BD31-4B8C-83A1-F6EECF244321}">
                <p14:modId xmlns:p14="http://schemas.microsoft.com/office/powerpoint/2010/main" val="412264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920216F-6E12-4240-AB6D-EF417D72D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18.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479295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AD7A57-5211-48E9-B1E5-AC3DD8BD021E}"/>
              </a:ext>
            </a:extLst>
          </p:cNvPr>
          <p:cNvGraphicFramePr>
            <a:graphicFrameLocks noChangeAspect="1"/>
          </p:cNvGraphicFramePr>
          <p:nvPr userDrawn="1">
            <p:custDataLst>
              <p:tags r:id="rId1"/>
            </p:custDataLst>
            <p:extLst>
              <p:ext uri="{D42A27DB-BD31-4B8C-83A1-F6EECF244321}">
                <p14:modId xmlns:p14="http://schemas.microsoft.com/office/powerpoint/2010/main" val="43150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AD7A57-5211-48E9-B1E5-AC3DD8BD02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18.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217327958"/>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E3D240F-1179-41E3-ACCD-37AD84011860}"/>
              </a:ext>
            </a:extLst>
          </p:cNvPr>
          <p:cNvGraphicFramePr>
            <a:graphicFrameLocks noChangeAspect="1"/>
          </p:cNvGraphicFramePr>
          <p:nvPr userDrawn="1">
            <p:custDataLst>
              <p:tags r:id="rId1"/>
            </p:custDataLst>
            <p:extLst>
              <p:ext uri="{D42A27DB-BD31-4B8C-83A1-F6EECF244321}">
                <p14:modId xmlns:p14="http://schemas.microsoft.com/office/powerpoint/2010/main" val="2069276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E3D240F-1179-41E3-ACCD-37AD84011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18.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31974764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5F233A-FD3C-49FA-BDA6-A9CA4569FFF7}"/>
              </a:ext>
            </a:extLst>
          </p:cNvPr>
          <p:cNvGraphicFramePr>
            <a:graphicFrameLocks noChangeAspect="1"/>
          </p:cNvGraphicFramePr>
          <p:nvPr userDrawn="1">
            <p:custDataLst>
              <p:tags r:id="rId1"/>
            </p:custDataLst>
            <p:extLst>
              <p:ext uri="{D42A27DB-BD31-4B8C-83A1-F6EECF244321}">
                <p14:modId xmlns:p14="http://schemas.microsoft.com/office/powerpoint/2010/main" val="4176184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C5F233A-FD3C-49FA-BDA6-A9CA4569F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4293249" y="4187860"/>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18.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grpSp>
        <p:nvGrpSpPr>
          <p:cNvPr id="9" name="Google Shape;112;p3">
            <a:extLst>
              <a:ext uri="{FF2B5EF4-FFF2-40B4-BE49-F238E27FC236}">
                <a16:creationId xmlns:a16="http://schemas.microsoft.com/office/drawing/2014/main" id="{07CC82E2-09C1-4622-A41A-D1941B226DC3}"/>
              </a:ext>
            </a:extLst>
          </p:cNvPr>
          <p:cNvGrpSpPr/>
          <p:nvPr userDrawn="1"/>
        </p:nvGrpSpPr>
        <p:grpSpPr>
          <a:xfrm>
            <a:off x="-31721" y="-76368"/>
            <a:ext cx="12255441" cy="7160172"/>
            <a:chOff x="-83913" y="-168653"/>
            <a:chExt cx="9288757" cy="5426904"/>
          </a:xfrm>
        </p:grpSpPr>
        <p:sp>
          <p:nvSpPr>
            <p:cNvPr id="10" name="Google Shape;113;p3">
              <a:extLst>
                <a:ext uri="{FF2B5EF4-FFF2-40B4-BE49-F238E27FC236}">
                  <a16:creationId xmlns:a16="http://schemas.microsoft.com/office/drawing/2014/main" id="{92B86184-6952-451E-8923-D1FFF61F273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2" name="Google Shape;114;p3">
              <a:extLst>
                <a:ext uri="{FF2B5EF4-FFF2-40B4-BE49-F238E27FC236}">
                  <a16:creationId xmlns:a16="http://schemas.microsoft.com/office/drawing/2014/main" id="{C71AF609-7BB7-450F-A8AB-E493826AA9E9}"/>
                </a:ext>
              </a:extLst>
            </p:cNvPr>
            <p:cNvSpPr/>
            <p:nvPr/>
          </p:nvSpPr>
          <p:spPr>
            <a:xfrm>
              <a:off x="-73851" y="4335362"/>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3" name="Google Shape;115;p3">
              <a:extLst>
                <a:ext uri="{FF2B5EF4-FFF2-40B4-BE49-F238E27FC236}">
                  <a16:creationId xmlns:a16="http://schemas.microsoft.com/office/drawing/2014/main" id="{AED2F901-8026-448D-A349-9CA72B883ABC}"/>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4" name="Google Shape;116;p3">
              <a:extLst>
                <a:ext uri="{FF2B5EF4-FFF2-40B4-BE49-F238E27FC236}">
                  <a16:creationId xmlns:a16="http://schemas.microsoft.com/office/drawing/2014/main" id="{13A0FF20-A9BC-4DAA-BC16-E4C747D6646E}"/>
                </a:ext>
              </a:extLst>
            </p:cNvPr>
            <p:cNvSpPr/>
            <p:nvPr/>
          </p:nvSpPr>
          <p:spPr>
            <a:xfrm rot="-1974315">
              <a:off x="1151275" y="3720972"/>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5" name="Google Shape;117;p3">
              <a:extLst>
                <a:ext uri="{FF2B5EF4-FFF2-40B4-BE49-F238E27FC236}">
                  <a16:creationId xmlns:a16="http://schemas.microsoft.com/office/drawing/2014/main" id="{62047D3D-2B35-4A87-9CEF-A9996A3BA36D}"/>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6" name="Google Shape;118;p3">
              <a:extLst>
                <a:ext uri="{FF2B5EF4-FFF2-40B4-BE49-F238E27FC236}">
                  <a16:creationId xmlns:a16="http://schemas.microsoft.com/office/drawing/2014/main" id="{36BACEDB-3231-4638-A682-B189FBE3FC4A}"/>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7" name="Google Shape;119;p3">
              <a:extLst>
                <a:ext uri="{FF2B5EF4-FFF2-40B4-BE49-F238E27FC236}">
                  <a16:creationId xmlns:a16="http://schemas.microsoft.com/office/drawing/2014/main" id="{80CF381C-9814-44B2-9E55-B8EC0B0AB8C4}"/>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8" name="Google Shape;120;p3">
              <a:extLst>
                <a:ext uri="{FF2B5EF4-FFF2-40B4-BE49-F238E27FC236}">
                  <a16:creationId xmlns:a16="http://schemas.microsoft.com/office/drawing/2014/main" id="{DFDF226F-A40F-4BAA-9FAA-D845B566B9F8}"/>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19" name="Google Shape;121;p3">
              <a:extLst>
                <a:ext uri="{FF2B5EF4-FFF2-40B4-BE49-F238E27FC236}">
                  <a16:creationId xmlns:a16="http://schemas.microsoft.com/office/drawing/2014/main" id="{65745712-0C3F-45EC-9C30-CA73E2C17891}"/>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0" name="Google Shape;122;p3">
              <a:extLst>
                <a:ext uri="{FF2B5EF4-FFF2-40B4-BE49-F238E27FC236}">
                  <a16:creationId xmlns:a16="http://schemas.microsoft.com/office/drawing/2014/main" id="{7B829C39-2590-47E2-8710-BABEF413F2C4}"/>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123;p3">
              <a:extLst>
                <a:ext uri="{FF2B5EF4-FFF2-40B4-BE49-F238E27FC236}">
                  <a16:creationId xmlns:a16="http://schemas.microsoft.com/office/drawing/2014/main" id="{E2175861-EC9F-4D11-A9B9-5ED7178A5D26}"/>
                </a:ext>
              </a:extLst>
            </p:cNvPr>
            <p:cNvSpPr/>
            <p:nvPr/>
          </p:nvSpPr>
          <p:spPr>
            <a:xfrm rot="9911830">
              <a:off x="5498424" y="4613124"/>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124;p3">
              <a:extLst>
                <a:ext uri="{FF2B5EF4-FFF2-40B4-BE49-F238E27FC236}">
                  <a16:creationId xmlns:a16="http://schemas.microsoft.com/office/drawing/2014/main" id="{1A3525D8-70CE-4CE1-B00C-FC50C9741911}"/>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125;p3">
              <a:extLst>
                <a:ext uri="{FF2B5EF4-FFF2-40B4-BE49-F238E27FC236}">
                  <a16:creationId xmlns:a16="http://schemas.microsoft.com/office/drawing/2014/main" id="{C350A2E7-53C0-405C-9A2C-01C66AD3068C}"/>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126;p3">
              <a:extLst>
                <a:ext uri="{FF2B5EF4-FFF2-40B4-BE49-F238E27FC236}">
                  <a16:creationId xmlns:a16="http://schemas.microsoft.com/office/drawing/2014/main" id="{D93D1F43-D738-46E7-8390-A696F6D1FDAD}"/>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127;p3">
              <a:extLst>
                <a:ext uri="{FF2B5EF4-FFF2-40B4-BE49-F238E27FC236}">
                  <a16:creationId xmlns:a16="http://schemas.microsoft.com/office/drawing/2014/main" id="{7B352C66-7B72-4D46-8287-9BD85434F192}"/>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6" name="Google Shape;128;p3">
              <a:extLst>
                <a:ext uri="{FF2B5EF4-FFF2-40B4-BE49-F238E27FC236}">
                  <a16:creationId xmlns:a16="http://schemas.microsoft.com/office/drawing/2014/main" id="{DD11AFDF-9ADA-413F-88BB-D1A61CA48A22}"/>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7" name="Google Shape;129;p3">
              <a:extLst>
                <a:ext uri="{FF2B5EF4-FFF2-40B4-BE49-F238E27FC236}">
                  <a16:creationId xmlns:a16="http://schemas.microsoft.com/office/drawing/2014/main" id="{95430F5E-BF6A-479A-B0E5-4881661F4642}"/>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8" name="Google Shape;130;p3">
              <a:extLst>
                <a:ext uri="{FF2B5EF4-FFF2-40B4-BE49-F238E27FC236}">
                  <a16:creationId xmlns:a16="http://schemas.microsoft.com/office/drawing/2014/main" id="{C58D23D2-086A-4899-96CA-FAF579AEAA82}"/>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131;p3">
              <a:extLst>
                <a:ext uri="{FF2B5EF4-FFF2-40B4-BE49-F238E27FC236}">
                  <a16:creationId xmlns:a16="http://schemas.microsoft.com/office/drawing/2014/main" id="{322C0835-F152-41BD-9EE2-77C35F50ADB1}"/>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132;p3">
              <a:extLst>
                <a:ext uri="{FF2B5EF4-FFF2-40B4-BE49-F238E27FC236}">
                  <a16:creationId xmlns:a16="http://schemas.microsoft.com/office/drawing/2014/main" id="{9A8D009F-7E08-4CCE-A86A-BA4170D78ECD}"/>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1" name="Google Shape;133;p3">
              <a:extLst>
                <a:ext uri="{FF2B5EF4-FFF2-40B4-BE49-F238E27FC236}">
                  <a16:creationId xmlns:a16="http://schemas.microsoft.com/office/drawing/2014/main" id="{B26D16EB-CAF3-40C1-B403-368196AE17A5}"/>
                </a:ext>
              </a:extLst>
            </p:cNvPr>
            <p:cNvGrpSpPr/>
            <p:nvPr/>
          </p:nvGrpSpPr>
          <p:grpSpPr>
            <a:xfrm rot="891035">
              <a:off x="1165229" y="1691730"/>
              <a:ext cx="657771" cy="386113"/>
              <a:chOff x="1429156" y="1387535"/>
              <a:chExt cx="657769" cy="386112"/>
            </a:xfrm>
          </p:grpSpPr>
          <p:sp>
            <p:nvSpPr>
              <p:cNvPr id="71" name="Google Shape;134;p3">
                <a:extLst>
                  <a:ext uri="{FF2B5EF4-FFF2-40B4-BE49-F238E27FC236}">
                    <a16:creationId xmlns:a16="http://schemas.microsoft.com/office/drawing/2014/main" id="{75ACE2E8-E896-4D2F-AA37-81A8AEFC8139}"/>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2" name="Google Shape;135;p3">
                <a:extLst>
                  <a:ext uri="{FF2B5EF4-FFF2-40B4-BE49-F238E27FC236}">
                    <a16:creationId xmlns:a16="http://schemas.microsoft.com/office/drawing/2014/main" id="{7206F198-9F89-4266-9D50-C07019C2CD7E}"/>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2" name="Google Shape;136;p3">
              <a:extLst>
                <a:ext uri="{FF2B5EF4-FFF2-40B4-BE49-F238E27FC236}">
                  <a16:creationId xmlns:a16="http://schemas.microsoft.com/office/drawing/2014/main" id="{375853E5-8D2D-4BFD-A344-777696706008}"/>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137;p3">
              <a:extLst>
                <a:ext uri="{FF2B5EF4-FFF2-40B4-BE49-F238E27FC236}">
                  <a16:creationId xmlns:a16="http://schemas.microsoft.com/office/drawing/2014/main" id="{6421FDF3-8380-4586-B83E-2921B2CFAF8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4" name="Google Shape;138;p3">
              <a:extLst>
                <a:ext uri="{FF2B5EF4-FFF2-40B4-BE49-F238E27FC236}">
                  <a16:creationId xmlns:a16="http://schemas.microsoft.com/office/drawing/2014/main" id="{5D66BD58-4BE5-4935-BF2C-EDC1609FD8BD}"/>
                </a:ext>
              </a:extLst>
            </p:cNvPr>
            <p:cNvGrpSpPr/>
            <p:nvPr/>
          </p:nvGrpSpPr>
          <p:grpSpPr>
            <a:xfrm>
              <a:off x="346827" y="3411153"/>
              <a:ext cx="376916" cy="455685"/>
              <a:chOff x="1010452" y="1144365"/>
              <a:chExt cx="376916" cy="455685"/>
            </a:xfrm>
          </p:grpSpPr>
          <p:sp>
            <p:nvSpPr>
              <p:cNvPr id="69" name="Google Shape;139;p3">
                <a:extLst>
                  <a:ext uri="{FF2B5EF4-FFF2-40B4-BE49-F238E27FC236}">
                    <a16:creationId xmlns:a16="http://schemas.microsoft.com/office/drawing/2014/main" id="{8C9BC79A-1AA0-4E0B-A67B-8A9CA8102C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40;p3">
                <a:extLst>
                  <a:ext uri="{FF2B5EF4-FFF2-40B4-BE49-F238E27FC236}">
                    <a16:creationId xmlns:a16="http://schemas.microsoft.com/office/drawing/2014/main" id="{75BFC764-F28D-40CD-A337-0DCD40399465}"/>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5" name="Google Shape;141;p3">
              <a:extLst>
                <a:ext uri="{FF2B5EF4-FFF2-40B4-BE49-F238E27FC236}">
                  <a16:creationId xmlns:a16="http://schemas.microsoft.com/office/drawing/2014/main" id="{B47530CC-894E-4F4E-A9E1-811A9F54E060}"/>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6" name="Google Shape;142;p3">
              <a:extLst>
                <a:ext uri="{FF2B5EF4-FFF2-40B4-BE49-F238E27FC236}">
                  <a16:creationId xmlns:a16="http://schemas.microsoft.com/office/drawing/2014/main" id="{BFFDEA78-7890-4D70-AE9F-F38D5F43582C}"/>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7" name="Google Shape;143;p3">
              <a:extLst>
                <a:ext uri="{FF2B5EF4-FFF2-40B4-BE49-F238E27FC236}">
                  <a16:creationId xmlns:a16="http://schemas.microsoft.com/office/drawing/2014/main" id="{594D8DC3-1DC1-4C04-8D8B-12D29A61F2A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144;p3">
              <a:extLst>
                <a:ext uri="{FF2B5EF4-FFF2-40B4-BE49-F238E27FC236}">
                  <a16:creationId xmlns:a16="http://schemas.microsoft.com/office/drawing/2014/main" id="{81F1ED35-B550-4F73-8A0D-BB1EA8636792}"/>
                </a:ext>
              </a:extLst>
            </p:cNvPr>
            <p:cNvSpPr/>
            <p:nvPr/>
          </p:nvSpPr>
          <p:spPr>
            <a:xfrm>
              <a:off x="7413193" y="740389"/>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9" name="Google Shape;145;p3">
              <a:extLst>
                <a:ext uri="{FF2B5EF4-FFF2-40B4-BE49-F238E27FC236}">
                  <a16:creationId xmlns:a16="http://schemas.microsoft.com/office/drawing/2014/main" id="{FCA7A200-8695-4433-80AB-6AD5C9BC8FB1}"/>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0" name="Google Shape;146;p3">
              <a:extLst>
                <a:ext uri="{FF2B5EF4-FFF2-40B4-BE49-F238E27FC236}">
                  <a16:creationId xmlns:a16="http://schemas.microsoft.com/office/drawing/2014/main" id="{C35532D8-0C59-45DE-AEA2-EDF349D00105}"/>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1" name="Google Shape;147;p3">
              <a:extLst>
                <a:ext uri="{FF2B5EF4-FFF2-40B4-BE49-F238E27FC236}">
                  <a16:creationId xmlns:a16="http://schemas.microsoft.com/office/drawing/2014/main" id="{85AAC109-4491-463F-B14F-6FEBB7D58F80}"/>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148;p3">
              <a:extLst>
                <a:ext uri="{FF2B5EF4-FFF2-40B4-BE49-F238E27FC236}">
                  <a16:creationId xmlns:a16="http://schemas.microsoft.com/office/drawing/2014/main" id="{E58DA6A9-C278-4BB1-B2CB-D5E0026C1509}"/>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3" name="Google Shape;149;p3">
              <a:extLst>
                <a:ext uri="{FF2B5EF4-FFF2-40B4-BE49-F238E27FC236}">
                  <a16:creationId xmlns:a16="http://schemas.microsoft.com/office/drawing/2014/main" id="{789450D2-6F31-4A2B-B6F9-41770B7F2109}"/>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4" name="Google Shape;150;p3">
              <a:extLst>
                <a:ext uri="{FF2B5EF4-FFF2-40B4-BE49-F238E27FC236}">
                  <a16:creationId xmlns:a16="http://schemas.microsoft.com/office/drawing/2014/main" id="{5573F5F2-17BD-48C0-9F23-F83B1A5A8105}"/>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151;p3">
              <a:extLst>
                <a:ext uri="{FF2B5EF4-FFF2-40B4-BE49-F238E27FC236}">
                  <a16:creationId xmlns:a16="http://schemas.microsoft.com/office/drawing/2014/main" id="{1669DDF8-3A03-4864-9401-6964B3660B6E}"/>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6" name="Google Shape;152;p3">
              <a:extLst>
                <a:ext uri="{FF2B5EF4-FFF2-40B4-BE49-F238E27FC236}">
                  <a16:creationId xmlns:a16="http://schemas.microsoft.com/office/drawing/2014/main" id="{FD5CC3CC-71F7-4EA4-9714-7E4B1A822154}"/>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7" name="Google Shape;153;p3">
              <a:extLst>
                <a:ext uri="{FF2B5EF4-FFF2-40B4-BE49-F238E27FC236}">
                  <a16:creationId xmlns:a16="http://schemas.microsoft.com/office/drawing/2014/main" id="{66AD0467-5823-4999-AD6B-89A8E5203963}"/>
                </a:ext>
              </a:extLst>
            </p:cNvPr>
            <p:cNvSpPr/>
            <p:nvPr/>
          </p:nvSpPr>
          <p:spPr>
            <a:xfrm>
              <a:off x="8514477" y="3303552"/>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8" name="Google Shape;154;p3">
              <a:extLst>
                <a:ext uri="{FF2B5EF4-FFF2-40B4-BE49-F238E27FC236}">
                  <a16:creationId xmlns:a16="http://schemas.microsoft.com/office/drawing/2014/main" id="{273E409A-ECD6-470B-8EF7-98B6344C2682}"/>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155;p3">
              <a:extLst>
                <a:ext uri="{FF2B5EF4-FFF2-40B4-BE49-F238E27FC236}">
                  <a16:creationId xmlns:a16="http://schemas.microsoft.com/office/drawing/2014/main" id="{E9F45DAE-D07F-4A54-A8CA-371949E134EF}"/>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156;p3">
              <a:extLst>
                <a:ext uri="{FF2B5EF4-FFF2-40B4-BE49-F238E27FC236}">
                  <a16:creationId xmlns:a16="http://schemas.microsoft.com/office/drawing/2014/main" id="{658AC260-88AF-48F4-A331-C8C9FB4AF599}"/>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157;p3">
              <a:extLst>
                <a:ext uri="{FF2B5EF4-FFF2-40B4-BE49-F238E27FC236}">
                  <a16:creationId xmlns:a16="http://schemas.microsoft.com/office/drawing/2014/main" id="{FD01B15F-3134-4B86-81F7-196D34FD1337}"/>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2" name="Google Shape;158;p3">
              <a:extLst>
                <a:ext uri="{FF2B5EF4-FFF2-40B4-BE49-F238E27FC236}">
                  <a16:creationId xmlns:a16="http://schemas.microsoft.com/office/drawing/2014/main" id="{ECE62D4D-DAD1-4BD5-95D7-E4F2C4AB4E20}"/>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3" name="Google Shape;159;p3">
              <a:extLst>
                <a:ext uri="{FF2B5EF4-FFF2-40B4-BE49-F238E27FC236}">
                  <a16:creationId xmlns:a16="http://schemas.microsoft.com/office/drawing/2014/main" id="{E1411E4E-DD68-441C-BA24-04EC531F7CB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4" name="Google Shape;160;p3">
              <a:extLst>
                <a:ext uri="{FF2B5EF4-FFF2-40B4-BE49-F238E27FC236}">
                  <a16:creationId xmlns:a16="http://schemas.microsoft.com/office/drawing/2014/main" id="{4FAAA02B-145E-42EF-9989-D3B3298B2D2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161;p3">
              <a:extLst>
                <a:ext uri="{FF2B5EF4-FFF2-40B4-BE49-F238E27FC236}">
                  <a16:creationId xmlns:a16="http://schemas.microsoft.com/office/drawing/2014/main" id="{A1BC7C48-F5BC-429D-A0C2-2F698A1C754A}"/>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accent4"/>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6" name="Google Shape;162;p3">
              <a:extLst>
                <a:ext uri="{FF2B5EF4-FFF2-40B4-BE49-F238E27FC236}">
                  <a16:creationId xmlns:a16="http://schemas.microsoft.com/office/drawing/2014/main" id="{061BBCF4-A94F-464F-9254-80F333F37689}"/>
                </a:ext>
              </a:extLst>
            </p:cNvPr>
            <p:cNvGrpSpPr/>
            <p:nvPr/>
          </p:nvGrpSpPr>
          <p:grpSpPr>
            <a:xfrm>
              <a:off x="6457245" y="4530131"/>
              <a:ext cx="216066" cy="276377"/>
              <a:chOff x="6422295" y="3351500"/>
              <a:chExt cx="252856" cy="323399"/>
            </a:xfrm>
          </p:grpSpPr>
          <p:sp>
            <p:nvSpPr>
              <p:cNvPr id="67" name="Google Shape;163;p3">
                <a:extLst>
                  <a:ext uri="{FF2B5EF4-FFF2-40B4-BE49-F238E27FC236}">
                    <a16:creationId xmlns:a16="http://schemas.microsoft.com/office/drawing/2014/main" id="{A5D8B871-971A-497E-88EA-BD3C7E11BB9B}"/>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64;p3">
                <a:extLst>
                  <a:ext uri="{FF2B5EF4-FFF2-40B4-BE49-F238E27FC236}">
                    <a16:creationId xmlns:a16="http://schemas.microsoft.com/office/drawing/2014/main" id="{EF015BEC-6C1B-40AC-A84D-118AD8944F9F}"/>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accent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7" name="Google Shape;165;p3">
              <a:extLst>
                <a:ext uri="{FF2B5EF4-FFF2-40B4-BE49-F238E27FC236}">
                  <a16:creationId xmlns:a16="http://schemas.microsoft.com/office/drawing/2014/main" id="{A74C9D07-C230-4862-BDAB-5DE3DD971641}"/>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166;p3">
              <a:extLst>
                <a:ext uri="{FF2B5EF4-FFF2-40B4-BE49-F238E27FC236}">
                  <a16:creationId xmlns:a16="http://schemas.microsoft.com/office/drawing/2014/main" id="{CFF947DF-86EC-4D06-8402-0D28FAA07E2E}"/>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2"/>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9" name="Google Shape;167;p3">
              <a:extLst>
                <a:ext uri="{FF2B5EF4-FFF2-40B4-BE49-F238E27FC236}">
                  <a16:creationId xmlns:a16="http://schemas.microsoft.com/office/drawing/2014/main" id="{296C5B09-63AC-4349-A8AD-5FC47298B7BF}"/>
                </a:ext>
              </a:extLst>
            </p:cNvPr>
            <p:cNvGrpSpPr/>
            <p:nvPr/>
          </p:nvGrpSpPr>
          <p:grpSpPr>
            <a:xfrm>
              <a:off x="1184427" y="4630083"/>
              <a:ext cx="229693" cy="293080"/>
              <a:chOff x="6793660" y="3322411"/>
              <a:chExt cx="268804" cy="342944"/>
            </a:xfrm>
          </p:grpSpPr>
          <p:sp>
            <p:nvSpPr>
              <p:cNvPr id="64" name="Google Shape;168;p3">
                <a:extLst>
                  <a:ext uri="{FF2B5EF4-FFF2-40B4-BE49-F238E27FC236}">
                    <a16:creationId xmlns:a16="http://schemas.microsoft.com/office/drawing/2014/main" id="{D43D496B-4A9F-4C55-9824-8149A5C3513C}"/>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5" name="Google Shape;169;p3">
                <a:extLst>
                  <a:ext uri="{FF2B5EF4-FFF2-40B4-BE49-F238E27FC236}">
                    <a16:creationId xmlns:a16="http://schemas.microsoft.com/office/drawing/2014/main" id="{66796A3A-7456-4310-BB79-D5EFA11CDF29}"/>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70;p3">
                <a:extLst>
                  <a:ext uri="{FF2B5EF4-FFF2-40B4-BE49-F238E27FC236}">
                    <a16:creationId xmlns:a16="http://schemas.microsoft.com/office/drawing/2014/main" id="{5AE20EA3-139D-4E96-87EA-6ABD338A141A}"/>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accent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0" name="Google Shape;171;p3">
              <a:extLst>
                <a:ext uri="{FF2B5EF4-FFF2-40B4-BE49-F238E27FC236}">
                  <a16:creationId xmlns:a16="http://schemas.microsoft.com/office/drawing/2014/main" id="{64EE9073-F1CC-4483-89C9-142F060D1563}"/>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accent6"/>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1" name="Google Shape;172;p3">
              <a:extLst>
                <a:ext uri="{FF2B5EF4-FFF2-40B4-BE49-F238E27FC236}">
                  <a16:creationId xmlns:a16="http://schemas.microsoft.com/office/drawing/2014/main" id="{CB7DB896-33B3-41DC-BB01-F2D7CB78EADD}"/>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2" name="Google Shape;173;p3">
              <a:extLst>
                <a:ext uri="{FF2B5EF4-FFF2-40B4-BE49-F238E27FC236}">
                  <a16:creationId xmlns:a16="http://schemas.microsoft.com/office/drawing/2014/main" id="{F428F3A0-7407-4A41-8EC0-E729B29E0AB0}"/>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3" name="Google Shape;174;p3">
              <a:extLst>
                <a:ext uri="{FF2B5EF4-FFF2-40B4-BE49-F238E27FC236}">
                  <a16:creationId xmlns:a16="http://schemas.microsoft.com/office/drawing/2014/main" id="{4F767371-F835-49CF-A9BA-C3C144C2E73A}"/>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accent5"/>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1480811344"/>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Breaker (B)">
    <p:bg>
      <p:bgPr>
        <a:solidFill>
          <a:srgbClr val="E6E6E6"/>
        </a:solidFill>
        <a:effectLst/>
      </p:bgPr>
    </p:bg>
    <p:spTree>
      <p:nvGrpSpPr>
        <p:cNvPr id="1" name=""/>
        <p:cNvGrpSpPr/>
        <p:nvPr/>
      </p:nvGrpSpPr>
      <p:grpSpPr>
        <a:xfrm>
          <a:off x="0" y="0"/>
          <a:ext cx="0" cy="0"/>
          <a:chOff x="0" y="0"/>
          <a:chExt cx="0" cy="0"/>
        </a:xfrm>
      </p:grpSpPr>
      <p:graphicFrame>
        <p:nvGraphicFramePr>
          <p:cNvPr id="74" name="Object 73" hidden="1">
            <a:extLst>
              <a:ext uri="{FF2B5EF4-FFF2-40B4-BE49-F238E27FC236}">
                <a16:creationId xmlns:a16="http://schemas.microsoft.com/office/drawing/2014/main" id="{84782DE8-9767-4702-8C7F-EAE3A0FA6E3B}"/>
              </a:ext>
            </a:extLst>
          </p:cNvPr>
          <p:cNvGraphicFramePr>
            <a:graphicFrameLocks noChangeAspect="1"/>
          </p:cNvGraphicFramePr>
          <p:nvPr userDrawn="1">
            <p:custDataLst>
              <p:tags r:id="rId1"/>
            </p:custDataLst>
            <p:extLst>
              <p:ext uri="{D42A27DB-BD31-4B8C-83A1-F6EECF244321}">
                <p14:modId xmlns:p14="http://schemas.microsoft.com/office/powerpoint/2010/main" val="40546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8" imgH="408" progId="TCLayout.ActiveDocument.1">
                  <p:embed/>
                </p:oleObj>
              </mc:Choice>
              <mc:Fallback>
                <p:oleObj name="think-cell Slide" r:id="rId3" imgW="408" imgH="408" progId="TCLayout.ActiveDocument.1">
                  <p:embed/>
                  <p:pic>
                    <p:nvPicPr>
                      <p:cNvPr id="74" name="Object 73" hidden="1">
                        <a:extLst>
                          <a:ext uri="{FF2B5EF4-FFF2-40B4-BE49-F238E27FC236}">
                            <a16:creationId xmlns:a16="http://schemas.microsoft.com/office/drawing/2014/main" id="{84782DE8-9767-4702-8C7F-EAE3A0FA6E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B4DA3B0F-03CD-4108-8860-23727812948A}"/>
              </a:ext>
            </a:extLst>
          </p:cNvPr>
          <p:cNvPicPr>
            <a:picLocks noChangeAspect="1"/>
          </p:cNvPicPr>
          <p:nvPr userDrawn="1"/>
        </p:nvPicPr>
        <p:blipFill>
          <a:blip r:embed="rId5"/>
          <a:stretch>
            <a:fillRect/>
          </a:stretch>
        </p:blipFill>
        <p:spPr>
          <a:xfrm>
            <a:off x="-154675" y="-77484"/>
            <a:ext cx="12501349" cy="7162403"/>
          </a:xfrm>
          <a:prstGeom prst="rect">
            <a:avLst/>
          </a:prstGeom>
        </p:spPr>
      </p:pic>
      <p:sp>
        <p:nvSpPr>
          <p:cNvPr id="2" name="Title 1"/>
          <p:cNvSpPr>
            <a:spLocks noGrp="1"/>
          </p:cNvSpPr>
          <p:nvPr>
            <p:ph type="ctrTitle" hasCustomPrompt="1"/>
          </p:nvPr>
        </p:nvSpPr>
        <p:spPr bwMode="white">
          <a:xfrm>
            <a:off x="1609725" y="1122363"/>
            <a:ext cx="9010650" cy="1984631"/>
          </a:xfrm>
        </p:spPr>
        <p:txBody>
          <a:bodyPr vert="horz" anchor="ctr"/>
          <a:lstStyle>
            <a:lvl1pPr algn="ctr" rtl="0">
              <a:defRPr sz="6000">
                <a:solidFill>
                  <a:schemeClr val="tx1"/>
                </a:solidFill>
              </a:defRPr>
            </a:lvl1pPr>
          </a:lstStyle>
          <a:p>
            <a:r>
              <a:rPr lang="da-DK" noProof="0"/>
              <a:t>Click to add </a:t>
            </a:r>
            <a:r>
              <a:rPr lang="da-DK"/>
              <a:t>Breaker text</a:t>
            </a:r>
          </a:p>
        </p:txBody>
      </p:sp>
      <p:sp>
        <p:nvSpPr>
          <p:cNvPr id="75" name="Rectangle 74">
            <a:extLst>
              <a:ext uri="{FF2B5EF4-FFF2-40B4-BE49-F238E27FC236}">
                <a16:creationId xmlns:a16="http://schemas.microsoft.com/office/drawing/2014/main" id="{D3B8EA68-780D-408D-A1B0-D4E553F60DC6}"/>
              </a:ext>
            </a:extLst>
          </p:cNvPr>
          <p:cNvSpPr/>
          <p:nvPr userDrawn="1"/>
        </p:nvSpPr>
        <p:spPr>
          <a:xfrm>
            <a:off x="5991225" y="6496050"/>
            <a:ext cx="295275" cy="21907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Tree>
    <p:extLst>
      <p:ext uri="{BB962C8B-B14F-4D97-AF65-F5344CB8AC3E}">
        <p14:creationId xmlns:p14="http://schemas.microsoft.com/office/powerpoint/2010/main" val="4004401256"/>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74CC8F9-A212-4669-B5A2-90527C0FB5EF}"/>
              </a:ext>
            </a:extLst>
          </p:cNvPr>
          <p:cNvGraphicFramePr>
            <a:graphicFrameLocks noChangeAspect="1"/>
          </p:cNvGraphicFramePr>
          <p:nvPr userDrawn="1">
            <p:custDataLst>
              <p:tags r:id="rId1"/>
            </p:custDataLst>
            <p:extLst>
              <p:ext uri="{D42A27DB-BD31-4B8C-83A1-F6EECF244321}">
                <p14:modId xmlns:p14="http://schemas.microsoft.com/office/powerpoint/2010/main" val="855257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974CC8F9-A212-4669-B5A2-90527C0FB5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a:xfrm>
            <a:off x="1350000" y="1122363"/>
            <a:ext cx="8509963" cy="1984631"/>
          </a:xfrm>
        </p:spPr>
        <p:txBody>
          <a:bodyPr vert="horz" anchor="b"/>
          <a:lstStyle>
            <a:lvl1pPr algn="l" rtl="0">
              <a:defRPr sz="6000">
                <a:solidFill>
                  <a:schemeClr val="accent2"/>
                </a:solidFill>
              </a:defRPr>
            </a:lvl1pPr>
          </a:lstStyle>
          <a:p>
            <a:r>
              <a:rPr lang="da-DK" noProof="0"/>
              <a:t>Click to add </a:t>
            </a:r>
            <a:r>
              <a:rPr lang="da-DK"/>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rtl="0">
              <a:defRPr>
                <a:solidFill>
                  <a:schemeClr val="accent2"/>
                </a:solidFill>
              </a:defRPr>
            </a:lvl1pPr>
          </a:lstStyle>
          <a:p>
            <a:fld id="{E373EE1C-D19B-4EA0-9A15-DED1DEE449B9}" type="datetime1">
              <a:rPr lang="da-DK" smtClean="0"/>
              <a:pPr/>
              <a:t>18.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rtl="0">
              <a:defRPr>
                <a:solidFill>
                  <a:schemeClr val="accent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709031245"/>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E0DF49-C183-4D5C-9A2E-7134386478D1}"/>
              </a:ext>
            </a:extLst>
          </p:cNvPr>
          <p:cNvGraphicFramePr>
            <a:graphicFrameLocks noChangeAspect="1"/>
          </p:cNvGraphicFramePr>
          <p:nvPr userDrawn="1">
            <p:custDataLst>
              <p:tags r:id="rId1"/>
            </p:custDataLst>
            <p:extLst>
              <p:ext uri="{D42A27DB-BD31-4B8C-83A1-F6EECF244321}">
                <p14:modId xmlns:p14="http://schemas.microsoft.com/office/powerpoint/2010/main" val="53640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3E0DF49-C183-4D5C-9A2E-71343864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rtl="0">
              <a:defRPr sz="100">
                <a:noFill/>
              </a:defRPr>
            </a:lvl1pPr>
          </a:lstStyle>
          <a:p>
            <a:fld id="{1466C188-1D45-4F08-8DB4-23F6002C2B91}" type="datetime1">
              <a:rPr lang="da-DK" smtClean="0"/>
              <a:pPr/>
              <a:t>18.06.2024</a:t>
            </a:fld>
            <a:endParaRPr lang="da-DK"/>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vert="horz" anchor="b"/>
          <a:lstStyle>
            <a:lvl1pPr algn="l" rtl="0">
              <a:defRPr sz="6000">
                <a:solidFill>
                  <a:schemeClr val="bg1"/>
                </a:solidFill>
              </a:defRPr>
            </a:lvl1pPr>
          </a:lstStyle>
          <a:p>
            <a:r>
              <a:rPr lang="da-DK" noProof="0"/>
              <a:t>Click to add </a:t>
            </a:r>
            <a:r>
              <a:rPr lang="da-DK"/>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grpSp>
        <p:nvGrpSpPr>
          <p:cNvPr id="9" name="Google Shape;22;p2">
            <a:extLst>
              <a:ext uri="{FF2B5EF4-FFF2-40B4-BE49-F238E27FC236}">
                <a16:creationId xmlns:a16="http://schemas.microsoft.com/office/drawing/2014/main" id="{CF860034-7B08-4F3D-B762-9A31C79575E9}"/>
              </a:ext>
            </a:extLst>
          </p:cNvPr>
          <p:cNvGrpSpPr/>
          <p:nvPr userDrawn="1"/>
        </p:nvGrpSpPr>
        <p:grpSpPr>
          <a:xfrm>
            <a:off x="81519" y="-84327"/>
            <a:ext cx="12028962" cy="7026653"/>
            <a:chOff x="-85500" y="-168653"/>
            <a:chExt cx="9290344" cy="5426904"/>
          </a:xfrm>
        </p:grpSpPr>
        <p:grpSp>
          <p:nvGrpSpPr>
            <p:cNvPr id="14" name="Google Shape;23;p2">
              <a:extLst>
                <a:ext uri="{FF2B5EF4-FFF2-40B4-BE49-F238E27FC236}">
                  <a16:creationId xmlns:a16="http://schemas.microsoft.com/office/drawing/2014/main" id="{374DAF26-CC1A-4B23-B786-9BEE004A4999}"/>
                </a:ext>
              </a:extLst>
            </p:cNvPr>
            <p:cNvGrpSpPr/>
            <p:nvPr/>
          </p:nvGrpSpPr>
          <p:grpSpPr>
            <a:xfrm>
              <a:off x="3870624" y="271731"/>
              <a:ext cx="531017" cy="704779"/>
              <a:chOff x="3870624" y="271731"/>
              <a:chExt cx="531017" cy="704779"/>
            </a:xfrm>
          </p:grpSpPr>
          <p:sp>
            <p:nvSpPr>
              <p:cNvPr id="100" name="Google Shape;24;p2">
                <a:extLst>
                  <a:ext uri="{FF2B5EF4-FFF2-40B4-BE49-F238E27FC236}">
                    <a16:creationId xmlns:a16="http://schemas.microsoft.com/office/drawing/2014/main" id="{5CAA66CA-0C74-4E12-A951-E58F094E3B5A}"/>
                  </a:ext>
                </a:extLst>
              </p:cNvPr>
              <p:cNvSpPr/>
              <p:nvPr/>
            </p:nvSpPr>
            <p:spPr>
              <a:xfrm>
                <a:off x="3870624" y="311200"/>
                <a:ext cx="425807" cy="385849"/>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101" name="Google Shape;25;p2">
                <a:extLst>
                  <a:ext uri="{FF2B5EF4-FFF2-40B4-BE49-F238E27FC236}">
                    <a16:creationId xmlns:a16="http://schemas.microsoft.com/office/drawing/2014/main" id="{4F9740FA-1D78-4B0B-8ED1-34B3D3955579}"/>
                  </a:ext>
                </a:extLst>
              </p:cNvPr>
              <p:cNvSpPr/>
              <p:nvPr/>
            </p:nvSpPr>
            <p:spPr>
              <a:xfrm>
                <a:off x="3901992" y="271731"/>
                <a:ext cx="499650" cy="704779"/>
              </a:xfrm>
              <a:custGeom>
                <a:avLst/>
                <a:gdLst/>
                <a:ahLst/>
                <a:cxnLst/>
                <a:rect l="l" t="t" r="r" b="b"/>
                <a:pathLst>
                  <a:path w="580988" h="819510" extrusionOk="0">
                    <a:moveTo>
                      <a:pt x="261759" y="635000"/>
                    </a:moveTo>
                    <a:cubicBezTo>
                      <a:pt x="260489" y="670560"/>
                      <a:pt x="259854" y="707390"/>
                      <a:pt x="258584" y="743585"/>
                    </a:cubicBezTo>
                    <a:cubicBezTo>
                      <a:pt x="292874" y="774065"/>
                      <a:pt x="337324" y="753745"/>
                      <a:pt x="370344" y="778510"/>
                    </a:cubicBezTo>
                    <a:cubicBezTo>
                      <a:pt x="388124" y="796290"/>
                      <a:pt x="360184" y="805815"/>
                      <a:pt x="345579" y="806450"/>
                    </a:cubicBezTo>
                    <a:cubicBezTo>
                      <a:pt x="281444" y="810895"/>
                      <a:pt x="120154" y="844550"/>
                      <a:pt x="84594" y="782320"/>
                    </a:cubicBezTo>
                    <a:cubicBezTo>
                      <a:pt x="104914" y="743585"/>
                      <a:pt x="160159" y="739140"/>
                      <a:pt x="200164" y="733425"/>
                    </a:cubicBezTo>
                    <a:cubicBezTo>
                      <a:pt x="208419" y="702310"/>
                      <a:pt x="212229" y="670560"/>
                      <a:pt x="214769" y="636905"/>
                    </a:cubicBezTo>
                    <a:cubicBezTo>
                      <a:pt x="180479" y="630555"/>
                      <a:pt x="21729" y="575945"/>
                      <a:pt x="35064" y="537210"/>
                    </a:cubicBezTo>
                    <a:cubicBezTo>
                      <a:pt x="45859" y="514985"/>
                      <a:pt x="66179" y="514985"/>
                      <a:pt x="85864" y="524510"/>
                    </a:cubicBezTo>
                    <a:cubicBezTo>
                      <a:pt x="101739" y="527685"/>
                      <a:pt x="102374" y="527685"/>
                      <a:pt x="110629" y="506730"/>
                    </a:cubicBezTo>
                    <a:cubicBezTo>
                      <a:pt x="-130036" y="377825"/>
                      <a:pt x="62369" y="18415"/>
                      <a:pt x="303034" y="81280"/>
                    </a:cubicBezTo>
                    <a:cubicBezTo>
                      <a:pt x="336054" y="60325"/>
                      <a:pt x="301764" y="19050"/>
                      <a:pt x="337959" y="0"/>
                    </a:cubicBezTo>
                    <a:cubicBezTo>
                      <a:pt x="712609" y="106045"/>
                      <a:pt x="628154" y="591820"/>
                      <a:pt x="261759" y="635000"/>
                    </a:cubicBezTo>
                    <a:close/>
                    <a:moveTo>
                      <a:pt x="499884" y="133350"/>
                    </a:moveTo>
                    <a:cubicBezTo>
                      <a:pt x="496709" y="130810"/>
                      <a:pt x="494169" y="128905"/>
                      <a:pt x="490994" y="126365"/>
                    </a:cubicBezTo>
                    <a:cubicBezTo>
                      <a:pt x="486549" y="104775"/>
                      <a:pt x="434479" y="60960"/>
                      <a:pt x="410349" y="62865"/>
                    </a:cubicBezTo>
                    <a:cubicBezTo>
                      <a:pt x="432574" y="86360"/>
                      <a:pt x="460514" y="116205"/>
                      <a:pt x="490994" y="125730"/>
                    </a:cubicBezTo>
                    <a:cubicBezTo>
                      <a:pt x="496074" y="130810"/>
                      <a:pt x="508774" y="133350"/>
                      <a:pt x="503694" y="142240"/>
                    </a:cubicBezTo>
                    <a:cubicBezTo>
                      <a:pt x="556399" y="230505"/>
                      <a:pt x="555764" y="327025"/>
                      <a:pt x="531634" y="424815"/>
                    </a:cubicBezTo>
                    <a:cubicBezTo>
                      <a:pt x="461784" y="501650"/>
                      <a:pt x="409079" y="557530"/>
                      <a:pt x="303669" y="596265"/>
                    </a:cubicBezTo>
                    <a:cubicBezTo>
                      <a:pt x="379869" y="597535"/>
                      <a:pt x="484644" y="531495"/>
                      <a:pt x="502424" y="456565"/>
                    </a:cubicBezTo>
                    <a:cubicBezTo>
                      <a:pt x="528459" y="450850"/>
                      <a:pt x="532904" y="424180"/>
                      <a:pt x="534174" y="401955"/>
                    </a:cubicBezTo>
                    <a:cubicBezTo>
                      <a:pt x="576719" y="365760"/>
                      <a:pt x="577354" y="186055"/>
                      <a:pt x="515759" y="169545"/>
                    </a:cubicBezTo>
                    <a:cubicBezTo>
                      <a:pt x="510679" y="167005"/>
                      <a:pt x="506234" y="163830"/>
                      <a:pt x="508774" y="156845"/>
                    </a:cubicBezTo>
                    <a:cubicBezTo>
                      <a:pt x="506234" y="149225"/>
                      <a:pt x="503694" y="140970"/>
                      <a:pt x="499884" y="133350"/>
                    </a:cubicBezTo>
                    <a:close/>
                    <a:moveTo>
                      <a:pt x="436384" y="353060"/>
                    </a:moveTo>
                    <a:cubicBezTo>
                      <a:pt x="407174" y="354330"/>
                      <a:pt x="381774" y="360680"/>
                      <a:pt x="357009" y="374650"/>
                    </a:cubicBezTo>
                    <a:cubicBezTo>
                      <a:pt x="315099" y="355600"/>
                      <a:pt x="231914" y="308610"/>
                      <a:pt x="218579" y="382905"/>
                    </a:cubicBezTo>
                    <a:cubicBezTo>
                      <a:pt x="273824" y="443230"/>
                      <a:pt x="255409" y="433070"/>
                      <a:pt x="251599" y="511175"/>
                    </a:cubicBezTo>
                    <a:cubicBezTo>
                      <a:pt x="299224" y="529590"/>
                      <a:pt x="336689" y="398145"/>
                      <a:pt x="367169" y="370205"/>
                    </a:cubicBezTo>
                    <a:cubicBezTo>
                      <a:pt x="385584" y="381635"/>
                      <a:pt x="386854" y="407035"/>
                      <a:pt x="405269" y="418465"/>
                    </a:cubicBezTo>
                    <a:cubicBezTo>
                      <a:pt x="433844" y="408305"/>
                      <a:pt x="393204" y="377190"/>
                      <a:pt x="412254" y="367030"/>
                    </a:cubicBezTo>
                    <a:cubicBezTo>
                      <a:pt x="416699" y="370840"/>
                      <a:pt x="421144" y="375285"/>
                      <a:pt x="424954" y="379095"/>
                    </a:cubicBezTo>
                    <a:cubicBezTo>
                      <a:pt x="441464" y="362585"/>
                      <a:pt x="432574" y="347345"/>
                      <a:pt x="445909" y="325755"/>
                    </a:cubicBezTo>
                    <a:cubicBezTo>
                      <a:pt x="430034" y="335280"/>
                      <a:pt x="435114" y="344805"/>
                      <a:pt x="436384" y="353060"/>
                    </a:cubicBezTo>
                    <a:close/>
                    <a:moveTo>
                      <a:pt x="230009" y="513715"/>
                    </a:moveTo>
                    <a:cubicBezTo>
                      <a:pt x="255409" y="407035"/>
                      <a:pt x="231279" y="448310"/>
                      <a:pt x="205244" y="394335"/>
                    </a:cubicBezTo>
                    <a:cubicBezTo>
                      <a:pt x="189369" y="314325"/>
                      <a:pt x="283349" y="313055"/>
                      <a:pt x="332879" y="344805"/>
                    </a:cubicBezTo>
                    <a:cubicBezTo>
                      <a:pt x="358914" y="363855"/>
                      <a:pt x="376694" y="337820"/>
                      <a:pt x="403364" y="332105"/>
                    </a:cubicBezTo>
                    <a:cubicBezTo>
                      <a:pt x="402094" y="320675"/>
                      <a:pt x="411619" y="307975"/>
                      <a:pt x="402094" y="296545"/>
                    </a:cubicBezTo>
                    <a:cubicBezTo>
                      <a:pt x="353199" y="279400"/>
                      <a:pt x="317004" y="340360"/>
                      <a:pt x="268109" y="302260"/>
                    </a:cubicBezTo>
                    <a:cubicBezTo>
                      <a:pt x="269379" y="285115"/>
                      <a:pt x="264934" y="267335"/>
                      <a:pt x="270649" y="250190"/>
                    </a:cubicBezTo>
                    <a:cubicBezTo>
                      <a:pt x="300494" y="255270"/>
                      <a:pt x="300494" y="255270"/>
                      <a:pt x="325894" y="247650"/>
                    </a:cubicBezTo>
                    <a:cubicBezTo>
                      <a:pt x="323989" y="200025"/>
                      <a:pt x="376694" y="215265"/>
                      <a:pt x="358279" y="186055"/>
                    </a:cubicBezTo>
                    <a:cubicBezTo>
                      <a:pt x="304939" y="220345"/>
                      <a:pt x="315099" y="162560"/>
                      <a:pt x="344944" y="137795"/>
                    </a:cubicBezTo>
                    <a:cubicBezTo>
                      <a:pt x="302399" y="85725"/>
                      <a:pt x="217944" y="74930"/>
                      <a:pt x="165239" y="116205"/>
                    </a:cubicBezTo>
                    <a:cubicBezTo>
                      <a:pt x="174129" y="136525"/>
                      <a:pt x="202704" y="120650"/>
                      <a:pt x="210324" y="145415"/>
                    </a:cubicBezTo>
                    <a:cubicBezTo>
                      <a:pt x="183019" y="164465"/>
                      <a:pt x="149364" y="167640"/>
                      <a:pt x="120154" y="178435"/>
                    </a:cubicBezTo>
                    <a:cubicBezTo>
                      <a:pt x="119519" y="249555"/>
                      <a:pt x="77609" y="200660"/>
                      <a:pt x="53479" y="242570"/>
                    </a:cubicBezTo>
                    <a:cubicBezTo>
                      <a:pt x="52844" y="280670"/>
                      <a:pt x="111899" y="318770"/>
                      <a:pt x="89674" y="349885"/>
                    </a:cubicBezTo>
                    <a:cubicBezTo>
                      <a:pt x="61734" y="365760"/>
                      <a:pt x="50939" y="386080"/>
                      <a:pt x="61734" y="417830"/>
                    </a:cubicBezTo>
                    <a:cubicBezTo>
                      <a:pt x="66814" y="497840"/>
                      <a:pt x="167779" y="506730"/>
                      <a:pt x="230009" y="513715"/>
                    </a:cubicBezTo>
                    <a:close/>
                    <a:moveTo>
                      <a:pt x="146824" y="548005"/>
                    </a:moveTo>
                    <a:cubicBezTo>
                      <a:pt x="246519" y="612140"/>
                      <a:pt x="365264" y="559435"/>
                      <a:pt x="444639" y="488315"/>
                    </a:cubicBezTo>
                    <a:cubicBezTo>
                      <a:pt x="592594" y="370205"/>
                      <a:pt x="534809" y="123190"/>
                      <a:pt x="361454" y="66040"/>
                    </a:cubicBezTo>
                    <a:cubicBezTo>
                      <a:pt x="356374" y="76200"/>
                      <a:pt x="351929" y="86995"/>
                      <a:pt x="347484" y="97155"/>
                    </a:cubicBezTo>
                    <a:cubicBezTo>
                      <a:pt x="399554" y="145415"/>
                      <a:pt x="445274" y="203835"/>
                      <a:pt x="470039" y="269875"/>
                    </a:cubicBezTo>
                    <a:cubicBezTo>
                      <a:pt x="482739" y="398145"/>
                      <a:pt x="370979" y="535940"/>
                      <a:pt x="239534" y="533400"/>
                    </a:cubicBezTo>
                    <a:cubicBezTo>
                      <a:pt x="208419" y="534670"/>
                      <a:pt x="155714" y="500380"/>
                      <a:pt x="146824" y="548005"/>
                    </a:cubicBezTo>
                    <a:close/>
                    <a:moveTo>
                      <a:pt x="349389" y="258445"/>
                    </a:moveTo>
                    <a:cubicBezTo>
                      <a:pt x="328434" y="275590"/>
                      <a:pt x="303034" y="261620"/>
                      <a:pt x="280174" y="271145"/>
                    </a:cubicBezTo>
                    <a:cubicBezTo>
                      <a:pt x="280809" y="276225"/>
                      <a:pt x="280809" y="282575"/>
                      <a:pt x="281444" y="287655"/>
                    </a:cubicBezTo>
                    <a:cubicBezTo>
                      <a:pt x="318909" y="297815"/>
                      <a:pt x="320814" y="297815"/>
                      <a:pt x="345579" y="276225"/>
                    </a:cubicBezTo>
                    <a:cubicBezTo>
                      <a:pt x="369709" y="259080"/>
                      <a:pt x="380504" y="287655"/>
                      <a:pt x="414159" y="257175"/>
                    </a:cubicBezTo>
                    <a:cubicBezTo>
                      <a:pt x="501154" y="334010"/>
                      <a:pt x="394474" y="136525"/>
                      <a:pt x="369709" y="156845"/>
                    </a:cubicBezTo>
                    <a:cubicBezTo>
                      <a:pt x="384314" y="175895"/>
                      <a:pt x="384314" y="196850"/>
                      <a:pt x="379234" y="217805"/>
                    </a:cubicBezTo>
                    <a:cubicBezTo>
                      <a:pt x="368439" y="223520"/>
                      <a:pt x="359549" y="227965"/>
                      <a:pt x="349389" y="233045"/>
                    </a:cubicBezTo>
                    <a:cubicBezTo>
                      <a:pt x="349389" y="241935"/>
                      <a:pt x="349389" y="250190"/>
                      <a:pt x="349389" y="258445"/>
                    </a:cubicBezTo>
                    <a:close/>
                    <a:moveTo>
                      <a:pt x="311289" y="781685"/>
                    </a:moveTo>
                    <a:cubicBezTo>
                      <a:pt x="221754" y="765175"/>
                      <a:pt x="239534" y="797560"/>
                      <a:pt x="234454" y="698500"/>
                    </a:cubicBezTo>
                    <a:cubicBezTo>
                      <a:pt x="219214" y="720090"/>
                      <a:pt x="230644" y="746125"/>
                      <a:pt x="213499" y="765175"/>
                    </a:cubicBezTo>
                    <a:cubicBezTo>
                      <a:pt x="205244" y="761365"/>
                      <a:pt x="196989" y="756920"/>
                      <a:pt x="189369" y="753745"/>
                    </a:cubicBezTo>
                    <a:cubicBezTo>
                      <a:pt x="132854" y="764540"/>
                      <a:pt x="122694" y="769620"/>
                      <a:pt x="115709" y="788035"/>
                    </a:cubicBezTo>
                    <a:cubicBezTo>
                      <a:pt x="178574" y="794385"/>
                      <a:pt x="254774" y="810895"/>
                      <a:pt x="311289" y="781685"/>
                    </a:cubicBezTo>
                    <a:close/>
                    <a:moveTo>
                      <a:pt x="34429" y="252095"/>
                    </a:moveTo>
                    <a:cubicBezTo>
                      <a:pt x="6489" y="302895"/>
                      <a:pt x="9664" y="356870"/>
                      <a:pt x="39509" y="404495"/>
                    </a:cubicBezTo>
                    <a:cubicBezTo>
                      <a:pt x="31889" y="368935"/>
                      <a:pt x="53479" y="352425"/>
                      <a:pt x="78879" y="331470"/>
                    </a:cubicBezTo>
                    <a:cubicBezTo>
                      <a:pt x="64909" y="305435"/>
                      <a:pt x="50939" y="281305"/>
                      <a:pt x="34429" y="252095"/>
                    </a:cubicBezTo>
                    <a:close/>
                    <a:moveTo>
                      <a:pt x="259854" y="602615"/>
                    </a:moveTo>
                    <a:cubicBezTo>
                      <a:pt x="205879" y="591185"/>
                      <a:pt x="151269" y="582930"/>
                      <a:pt x="104279" y="551815"/>
                    </a:cubicBezTo>
                    <a:cubicBezTo>
                      <a:pt x="93484" y="545465"/>
                      <a:pt x="82689" y="538480"/>
                      <a:pt x="66179" y="544195"/>
                    </a:cubicBezTo>
                    <a:cubicBezTo>
                      <a:pt x="116979" y="590550"/>
                      <a:pt x="191909" y="628650"/>
                      <a:pt x="259854" y="602615"/>
                    </a:cubicBezTo>
                    <a:close/>
                    <a:moveTo>
                      <a:pt x="372249" y="408940"/>
                    </a:moveTo>
                    <a:cubicBezTo>
                      <a:pt x="360184" y="434975"/>
                      <a:pt x="317639" y="460375"/>
                      <a:pt x="330974" y="486410"/>
                    </a:cubicBezTo>
                    <a:cubicBezTo>
                      <a:pt x="354469" y="474345"/>
                      <a:pt x="376059" y="459105"/>
                      <a:pt x="390029" y="434975"/>
                    </a:cubicBezTo>
                    <a:cubicBezTo>
                      <a:pt x="387489" y="422910"/>
                      <a:pt x="383044" y="414020"/>
                      <a:pt x="372249" y="408940"/>
                    </a:cubicBezTo>
                    <a:close/>
                    <a:moveTo>
                      <a:pt x="172859" y="144145"/>
                    </a:moveTo>
                    <a:cubicBezTo>
                      <a:pt x="151904" y="118745"/>
                      <a:pt x="120154" y="129540"/>
                      <a:pt x="109994" y="155575"/>
                    </a:cubicBezTo>
                    <a:cubicBezTo>
                      <a:pt x="132854" y="161925"/>
                      <a:pt x="150634" y="152400"/>
                      <a:pt x="172859" y="144145"/>
                    </a:cubicBezTo>
                    <a:close/>
                    <a:moveTo>
                      <a:pt x="92214" y="161290"/>
                    </a:moveTo>
                    <a:cubicBezTo>
                      <a:pt x="76339" y="176530"/>
                      <a:pt x="62369" y="186690"/>
                      <a:pt x="59829" y="206375"/>
                    </a:cubicBezTo>
                    <a:cubicBezTo>
                      <a:pt x="106184" y="216535"/>
                      <a:pt x="99834" y="196215"/>
                      <a:pt x="92214" y="161290"/>
                    </a:cubicBezTo>
                    <a:close/>
                    <a:moveTo>
                      <a:pt x="342404" y="28575"/>
                    </a:moveTo>
                    <a:cubicBezTo>
                      <a:pt x="351294" y="37465"/>
                      <a:pt x="362089" y="39370"/>
                      <a:pt x="374154" y="41910"/>
                    </a:cubicBezTo>
                    <a:cubicBezTo>
                      <a:pt x="362089" y="22860"/>
                      <a:pt x="362089" y="22860"/>
                      <a:pt x="342404" y="2857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17" name="Google Shape;26;p2">
              <a:extLst>
                <a:ext uri="{FF2B5EF4-FFF2-40B4-BE49-F238E27FC236}">
                  <a16:creationId xmlns:a16="http://schemas.microsoft.com/office/drawing/2014/main" id="{880F6B94-3351-4359-AA78-95E4BA51ABB9}"/>
                </a:ext>
              </a:extLst>
            </p:cNvPr>
            <p:cNvGrpSpPr/>
            <p:nvPr/>
          </p:nvGrpSpPr>
          <p:grpSpPr>
            <a:xfrm>
              <a:off x="-85500" y="4299338"/>
              <a:ext cx="612915" cy="585559"/>
              <a:chOff x="8158724" y="4646275"/>
              <a:chExt cx="612915" cy="585559"/>
            </a:xfrm>
          </p:grpSpPr>
          <p:sp>
            <p:nvSpPr>
              <p:cNvPr id="98" name="Google Shape;27;p2">
                <a:extLst>
                  <a:ext uri="{FF2B5EF4-FFF2-40B4-BE49-F238E27FC236}">
                    <a16:creationId xmlns:a16="http://schemas.microsoft.com/office/drawing/2014/main" id="{079699AB-E13E-4643-A888-2FB682F50DDC}"/>
                  </a:ext>
                </a:extLst>
              </p:cNvPr>
              <p:cNvSpPr/>
              <p:nvPr/>
            </p:nvSpPr>
            <p:spPr>
              <a:xfrm>
                <a:off x="8158724" y="4646275"/>
                <a:ext cx="511423" cy="463431"/>
              </a:xfrm>
              <a:custGeom>
                <a:avLst/>
                <a:gdLst/>
                <a:ahLst/>
                <a:cxnLst/>
                <a:rect l="l" t="t" r="r" b="b"/>
                <a:pathLst>
                  <a:path w="35017" h="31731" extrusionOk="0">
                    <a:moveTo>
                      <a:pt x="16911" y="1"/>
                    </a:moveTo>
                    <a:lnTo>
                      <a:pt x="15596" y="61"/>
                    </a:lnTo>
                    <a:lnTo>
                      <a:pt x="14282" y="240"/>
                    </a:lnTo>
                    <a:lnTo>
                      <a:pt x="13027" y="479"/>
                    </a:lnTo>
                    <a:lnTo>
                      <a:pt x="11772" y="837"/>
                    </a:lnTo>
                    <a:lnTo>
                      <a:pt x="10517" y="1256"/>
                    </a:lnTo>
                    <a:lnTo>
                      <a:pt x="9442" y="1734"/>
                    </a:lnTo>
                    <a:lnTo>
                      <a:pt x="8366" y="2331"/>
                    </a:lnTo>
                    <a:lnTo>
                      <a:pt x="7350" y="2989"/>
                    </a:lnTo>
                    <a:lnTo>
                      <a:pt x="6454" y="3706"/>
                    </a:lnTo>
                    <a:lnTo>
                      <a:pt x="5558" y="4542"/>
                    </a:lnTo>
                    <a:lnTo>
                      <a:pt x="4721" y="5379"/>
                    </a:lnTo>
                    <a:lnTo>
                      <a:pt x="3944" y="6275"/>
                    </a:lnTo>
                    <a:lnTo>
                      <a:pt x="3227" y="7231"/>
                    </a:lnTo>
                    <a:lnTo>
                      <a:pt x="2570" y="8247"/>
                    </a:lnTo>
                    <a:lnTo>
                      <a:pt x="2032" y="9323"/>
                    </a:lnTo>
                    <a:lnTo>
                      <a:pt x="1494" y="10398"/>
                    </a:lnTo>
                    <a:lnTo>
                      <a:pt x="1076" y="11534"/>
                    </a:lnTo>
                    <a:lnTo>
                      <a:pt x="717" y="12669"/>
                    </a:lnTo>
                    <a:lnTo>
                      <a:pt x="419" y="13804"/>
                    </a:lnTo>
                    <a:lnTo>
                      <a:pt x="180" y="14999"/>
                    </a:lnTo>
                    <a:lnTo>
                      <a:pt x="60" y="16194"/>
                    </a:lnTo>
                    <a:lnTo>
                      <a:pt x="0" y="17569"/>
                    </a:lnTo>
                    <a:lnTo>
                      <a:pt x="60" y="18824"/>
                    </a:lnTo>
                    <a:lnTo>
                      <a:pt x="180" y="20079"/>
                    </a:lnTo>
                    <a:lnTo>
                      <a:pt x="478" y="21274"/>
                    </a:lnTo>
                    <a:lnTo>
                      <a:pt x="837" y="22349"/>
                    </a:lnTo>
                    <a:lnTo>
                      <a:pt x="1315" y="23425"/>
                    </a:lnTo>
                    <a:lnTo>
                      <a:pt x="1853" y="24441"/>
                    </a:lnTo>
                    <a:lnTo>
                      <a:pt x="2510" y="25457"/>
                    </a:lnTo>
                    <a:lnTo>
                      <a:pt x="3287" y="26353"/>
                    </a:lnTo>
                    <a:lnTo>
                      <a:pt x="4064" y="27189"/>
                    </a:lnTo>
                    <a:lnTo>
                      <a:pt x="4960" y="27966"/>
                    </a:lnTo>
                    <a:lnTo>
                      <a:pt x="5976" y="28683"/>
                    </a:lnTo>
                    <a:lnTo>
                      <a:pt x="6992" y="29281"/>
                    </a:lnTo>
                    <a:lnTo>
                      <a:pt x="8127" y="29878"/>
                    </a:lnTo>
                    <a:lnTo>
                      <a:pt x="9322" y="30356"/>
                    </a:lnTo>
                    <a:lnTo>
                      <a:pt x="10517" y="30834"/>
                    </a:lnTo>
                    <a:lnTo>
                      <a:pt x="11892" y="31193"/>
                    </a:lnTo>
                    <a:lnTo>
                      <a:pt x="13206" y="31492"/>
                    </a:lnTo>
                    <a:lnTo>
                      <a:pt x="14581" y="31671"/>
                    </a:lnTo>
                    <a:lnTo>
                      <a:pt x="16015" y="31731"/>
                    </a:lnTo>
                    <a:lnTo>
                      <a:pt x="17389" y="31671"/>
                    </a:lnTo>
                    <a:lnTo>
                      <a:pt x="18763" y="31552"/>
                    </a:lnTo>
                    <a:lnTo>
                      <a:pt x="20138" y="31313"/>
                    </a:lnTo>
                    <a:lnTo>
                      <a:pt x="21452" y="30954"/>
                    </a:lnTo>
                    <a:lnTo>
                      <a:pt x="22110" y="30715"/>
                    </a:lnTo>
                    <a:lnTo>
                      <a:pt x="22767" y="30476"/>
                    </a:lnTo>
                    <a:lnTo>
                      <a:pt x="24022" y="29878"/>
                    </a:lnTo>
                    <a:lnTo>
                      <a:pt x="25217" y="29161"/>
                    </a:lnTo>
                    <a:lnTo>
                      <a:pt x="26293" y="28385"/>
                    </a:lnTo>
                    <a:lnTo>
                      <a:pt x="27428" y="27548"/>
                    </a:lnTo>
                    <a:lnTo>
                      <a:pt x="28444" y="26652"/>
                    </a:lnTo>
                    <a:lnTo>
                      <a:pt x="30476" y="24739"/>
                    </a:lnTo>
                    <a:lnTo>
                      <a:pt x="31013" y="24261"/>
                    </a:lnTo>
                    <a:lnTo>
                      <a:pt x="31551" y="23664"/>
                    </a:lnTo>
                    <a:lnTo>
                      <a:pt x="32029" y="23126"/>
                    </a:lnTo>
                    <a:lnTo>
                      <a:pt x="32447" y="22529"/>
                    </a:lnTo>
                    <a:lnTo>
                      <a:pt x="32866" y="21931"/>
                    </a:lnTo>
                    <a:lnTo>
                      <a:pt x="33224" y="21333"/>
                    </a:lnTo>
                    <a:lnTo>
                      <a:pt x="33523" y="20676"/>
                    </a:lnTo>
                    <a:lnTo>
                      <a:pt x="33822" y="20019"/>
                    </a:lnTo>
                    <a:lnTo>
                      <a:pt x="34360" y="18704"/>
                    </a:lnTo>
                    <a:lnTo>
                      <a:pt x="34718" y="17390"/>
                    </a:lnTo>
                    <a:lnTo>
                      <a:pt x="34957" y="16015"/>
                    </a:lnTo>
                    <a:lnTo>
                      <a:pt x="35017" y="14641"/>
                    </a:lnTo>
                    <a:lnTo>
                      <a:pt x="35017" y="13924"/>
                    </a:lnTo>
                    <a:lnTo>
                      <a:pt x="34957" y="13266"/>
                    </a:lnTo>
                    <a:lnTo>
                      <a:pt x="34838" y="12549"/>
                    </a:lnTo>
                    <a:lnTo>
                      <a:pt x="34718" y="11892"/>
                    </a:lnTo>
                    <a:lnTo>
                      <a:pt x="34599" y="11235"/>
                    </a:lnTo>
                    <a:lnTo>
                      <a:pt x="34360" y="10577"/>
                    </a:lnTo>
                    <a:lnTo>
                      <a:pt x="34121" y="9920"/>
                    </a:lnTo>
                    <a:lnTo>
                      <a:pt x="33882" y="9263"/>
                    </a:lnTo>
                    <a:lnTo>
                      <a:pt x="33583" y="8606"/>
                    </a:lnTo>
                    <a:lnTo>
                      <a:pt x="33224" y="8008"/>
                    </a:lnTo>
                    <a:lnTo>
                      <a:pt x="32806" y="7410"/>
                    </a:lnTo>
                    <a:lnTo>
                      <a:pt x="32388" y="6813"/>
                    </a:lnTo>
                    <a:lnTo>
                      <a:pt x="31910" y="6275"/>
                    </a:lnTo>
                    <a:lnTo>
                      <a:pt x="31432" y="5737"/>
                    </a:lnTo>
                    <a:lnTo>
                      <a:pt x="30894" y="5200"/>
                    </a:lnTo>
                    <a:lnTo>
                      <a:pt x="30296" y="4721"/>
                    </a:lnTo>
                    <a:lnTo>
                      <a:pt x="29280" y="3945"/>
                    </a:lnTo>
                    <a:lnTo>
                      <a:pt x="28205" y="3228"/>
                    </a:lnTo>
                    <a:lnTo>
                      <a:pt x="27069" y="2570"/>
                    </a:lnTo>
                    <a:lnTo>
                      <a:pt x="25874" y="1973"/>
                    </a:lnTo>
                    <a:lnTo>
                      <a:pt x="24679" y="1435"/>
                    </a:lnTo>
                    <a:lnTo>
                      <a:pt x="23424" y="1017"/>
                    </a:lnTo>
                    <a:lnTo>
                      <a:pt x="22170" y="658"/>
                    </a:lnTo>
                    <a:lnTo>
                      <a:pt x="20855" y="359"/>
                    </a:lnTo>
                    <a:lnTo>
                      <a:pt x="19540" y="180"/>
                    </a:lnTo>
                    <a:lnTo>
                      <a:pt x="18226" y="61"/>
                    </a:lnTo>
                    <a:lnTo>
                      <a:pt x="16911" y="1"/>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9" name="Google Shape;28;p2">
                <a:extLst>
                  <a:ext uri="{FF2B5EF4-FFF2-40B4-BE49-F238E27FC236}">
                    <a16:creationId xmlns:a16="http://schemas.microsoft.com/office/drawing/2014/main" id="{2E521742-9B6F-4627-8EC5-60F64ACFAF44}"/>
                  </a:ext>
                </a:extLst>
              </p:cNvPr>
              <p:cNvSpPr/>
              <p:nvPr/>
            </p:nvSpPr>
            <p:spPr>
              <a:xfrm>
                <a:off x="8170373" y="4682299"/>
                <a:ext cx="601266" cy="549535"/>
              </a:xfrm>
              <a:custGeom>
                <a:avLst/>
                <a:gdLst/>
                <a:ahLst/>
                <a:cxnLst/>
                <a:rect l="l" t="t" r="r" b="b"/>
                <a:pathLst>
                  <a:path w="699146" h="638994" extrusionOk="0">
                    <a:moveTo>
                      <a:pt x="334626" y="637812"/>
                    </a:moveTo>
                    <a:cubicBezTo>
                      <a:pt x="189211" y="651782"/>
                      <a:pt x="48876" y="540022"/>
                      <a:pt x="13317" y="404132"/>
                    </a:cubicBezTo>
                    <a:cubicBezTo>
                      <a:pt x="-46374" y="233317"/>
                      <a:pt x="105392" y="76472"/>
                      <a:pt x="253981" y="15512"/>
                    </a:cubicBezTo>
                    <a:cubicBezTo>
                      <a:pt x="395586" y="-39733"/>
                      <a:pt x="599422" y="61232"/>
                      <a:pt x="675622" y="181882"/>
                    </a:cubicBezTo>
                    <a:cubicBezTo>
                      <a:pt x="770236" y="397782"/>
                      <a:pt x="563861" y="655592"/>
                      <a:pt x="334626" y="637812"/>
                    </a:cubicBezTo>
                    <a:close/>
                    <a:moveTo>
                      <a:pt x="613392" y="131082"/>
                    </a:moveTo>
                    <a:lnTo>
                      <a:pt x="611486" y="131082"/>
                    </a:lnTo>
                    <a:lnTo>
                      <a:pt x="613392" y="131082"/>
                    </a:lnTo>
                    <a:cubicBezTo>
                      <a:pt x="570211" y="82187"/>
                      <a:pt x="497822" y="81552"/>
                      <a:pt x="458451" y="32657"/>
                    </a:cubicBezTo>
                    <a:cubicBezTo>
                      <a:pt x="373361" y="9162"/>
                      <a:pt x="331451" y="164102"/>
                      <a:pt x="314306" y="226967"/>
                    </a:cubicBezTo>
                    <a:cubicBezTo>
                      <a:pt x="346056" y="228872"/>
                      <a:pt x="373997" y="225697"/>
                      <a:pt x="403206" y="239667"/>
                    </a:cubicBezTo>
                    <a:cubicBezTo>
                      <a:pt x="474961" y="249192"/>
                      <a:pt x="436226" y="145052"/>
                      <a:pt x="613392" y="131082"/>
                    </a:cubicBezTo>
                    <a:close/>
                    <a:moveTo>
                      <a:pt x="497822" y="580662"/>
                    </a:moveTo>
                    <a:cubicBezTo>
                      <a:pt x="403206" y="503192"/>
                      <a:pt x="376536" y="373017"/>
                      <a:pt x="411461" y="262527"/>
                    </a:cubicBezTo>
                    <a:cubicBezTo>
                      <a:pt x="356217" y="241572"/>
                      <a:pt x="351136" y="240937"/>
                      <a:pt x="305417" y="250462"/>
                    </a:cubicBezTo>
                    <a:cubicBezTo>
                      <a:pt x="280017" y="369207"/>
                      <a:pt x="273667" y="510812"/>
                      <a:pt x="327006" y="621937"/>
                    </a:cubicBezTo>
                    <a:cubicBezTo>
                      <a:pt x="389236" y="628922"/>
                      <a:pt x="468611" y="609872"/>
                      <a:pt x="497822" y="580662"/>
                    </a:cubicBezTo>
                    <a:close/>
                    <a:moveTo>
                      <a:pt x="224136" y="244747"/>
                    </a:moveTo>
                    <a:cubicBezTo>
                      <a:pt x="207626" y="345077"/>
                      <a:pt x="129522" y="414927"/>
                      <a:pt x="60306" y="475887"/>
                    </a:cubicBezTo>
                    <a:cubicBezTo>
                      <a:pt x="118726" y="541927"/>
                      <a:pt x="194926" y="632732"/>
                      <a:pt x="292717" y="618762"/>
                    </a:cubicBezTo>
                    <a:cubicBezTo>
                      <a:pt x="262872" y="495572"/>
                      <a:pt x="258426" y="366667"/>
                      <a:pt x="280017" y="240937"/>
                    </a:cubicBezTo>
                    <a:cubicBezTo>
                      <a:pt x="259697" y="230142"/>
                      <a:pt x="242551" y="238397"/>
                      <a:pt x="224136" y="244747"/>
                    </a:cubicBezTo>
                    <a:close/>
                    <a:moveTo>
                      <a:pt x="634347" y="444137"/>
                    </a:moveTo>
                    <a:cubicBezTo>
                      <a:pt x="599422" y="357142"/>
                      <a:pt x="534017" y="297452"/>
                      <a:pt x="445117" y="264432"/>
                    </a:cubicBezTo>
                    <a:cubicBezTo>
                      <a:pt x="379711" y="353332"/>
                      <a:pt x="426067" y="494937"/>
                      <a:pt x="506076" y="560342"/>
                    </a:cubicBezTo>
                    <a:cubicBezTo>
                      <a:pt x="565767" y="583202"/>
                      <a:pt x="602597" y="482237"/>
                      <a:pt x="634347" y="444137"/>
                    </a:cubicBezTo>
                    <a:close/>
                    <a:moveTo>
                      <a:pt x="647681" y="409847"/>
                    </a:moveTo>
                    <a:cubicBezTo>
                      <a:pt x="694672" y="340632"/>
                      <a:pt x="688956" y="242207"/>
                      <a:pt x="647681" y="173627"/>
                    </a:cubicBezTo>
                    <a:cubicBezTo>
                      <a:pt x="591167" y="110762"/>
                      <a:pt x="481947" y="178072"/>
                      <a:pt x="458451" y="242842"/>
                    </a:cubicBezTo>
                    <a:cubicBezTo>
                      <a:pt x="527667" y="293642"/>
                      <a:pt x="607677" y="325392"/>
                      <a:pt x="647681" y="409847"/>
                    </a:cubicBezTo>
                    <a:close/>
                    <a:moveTo>
                      <a:pt x="290176" y="219982"/>
                    </a:moveTo>
                    <a:cubicBezTo>
                      <a:pt x="307956" y="145052"/>
                      <a:pt x="356851" y="82187"/>
                      <a:pt x="383522" y="14877"/>
                    </a:cubicBezTo>
                    <a:cubicBezTo>
                      <a:pt x="335261" y="-4808"/>
                      <a:pt x="213976" y="38372"/>
                      <a:pt x="172701" y="84092"/>
                    </a:cubicBezTo>
                    <a:cubicBezTo>
                      <a:pt x="215881" y="116477"/>
                      <a:pt x="213976" y="171087"/>
                      <a:pt x="222231" y="219982"/>
                    </a:cubicBezTo>
                    <a:cubicBezTo>
                      <a:pt x="244456" y="219982"/>
                      <a:pt x="265411" y="219982"/>
                      <a:pt x="290176" y="219982"/>
                    </a:cubicBezTo>
                    <a:close/>
                    <a:moveTo>
                      <a:pt x="194292" y="240302"/>
                    </a:moveTo>
                    <a:cubicBezTo>
                      <a:pt x="140317" y="229507"/>
                      <a:pt x="82531" y="254907"/>
                      <a:pt x="34906" y="279037"/>
                    </a:cubicBezTo>
                    <a:cubicBezTo>
                      <a:pt x="-1924" y="324122"/>
                      <a:pt x="29192" y="402227"/>
                      <a:pt x="50781" y="449217"/>
                    </a:cubicBezTo>
                    <a:cubicBezTo>
                      <a:pt x="120631" y="414927"/>
                      <a:pt x="199372" y="320947"/>
                      <a:pt x="194292" y="240302"/>
                    </a:cubicBezTo>
                    <a:close/>
                    <a:moveTo>
                      <a:pt x="147936" y="100602"/>
                    </a:moveTo>
                    <a:cubicBezTo>
                      <a:pt x="98406" y="135527"/>
                      <a:pt x="46972" y="193947"/>
                      <a:pt x="38081" y="253637"/>
                    </a:cubicBezTo>
                    <a:cubicBezTo>
                      <a:pt x="88881" y="228237"/>
                      <a:pt x="141586" y="224427"/>
                      <a:pt x="193656" y="217442"/>
                    </a:cubicBezTo>
                    <a:cubicBezTo>
                      <a:pt x="200642" y="176167"/>
                      <a:pt x="195561" y="112032"/>
                      <a:pt x="147936" y="10060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18" name="Google Shape;29;p2">
              <a:extLst>
                <a:ext uri="{FF2B5EF4-FFF2-40B4-BE49-F238E27FC236}">
                  <a16:creationId xmlns:a16="http://schemas.microsoft.com/office/drawing/2014/main" id="{9560D005-42F1-4338-B0A7-019A505317B4}"/>
                </a:ext>
              </a:extLst>
            </p:cNvPr>
            <p:cNvSpPr/>
            <p:nvPr/>
          </p:nvSpPr>
          <p:spPr>
            <a:xfrm rot="2001982">
              <a:off x="136143" y="2216866"/>
              <a:ext cx="321474" cy="709766"/>
            </a:xfrm>
            <a:custGeom>
              <a:avLst/>
              <a:gdLst/>
              <a:ahLst/>
              <a:cxnLst/>
              <a:rect l="l" t="t" r="r" b="b"/>
              <a:pathLst>
                <a:path w="374196" h="826169" extrusionOk="0">
                  <a:moveTo>
                    <a:pt x="319578" y="542496"/>
                  </a:moveTo>
                  <a:cubicBezTo>
                    <a:pt x="337993" y="538051"/>
                    <a:pt x="360853" y="525986"/>
                    <a:pt x="365933" y="549481"/>
                  </a:cubicBezTo>
                  <a:cubicBezTo>
                    <a:pt x="372283" y="584406"/>
                    <a:pt x="389428" y="625046"/>
                    <a:pt x="341803" y="634571"/>
                  </a:cubicBezTo>
                  <a:cubicBezTo>
                    <a:pt x="344978" y="696801"/>
                    <a:pt x="374823" y="756491"/>
                    <a:pt x="362758" y="819356"/>
                  </a:cubicBezTo>
                  <a:cubicBezTo>
                    <a:pt x="256078" y="683466"/>
                    <a:pt x="252268" y="452961"/>
                    <a:pt x="169718" y="289131"/>
                  </a:cubicBezTo>
                  <a:cubicBezTo>
                    <a:pt x="120823" y="395176"/>
                    <a:pt x="-22052" y="1176861"/>
                    <a:pt x="34463" y="639016"/>
                  </a:cubicBezTo>
                  <a:cubicBezTo>
                    <a:pt x="31288" y="635206"/>
                    <a:pt x="30018" y="632666"/>
                    <a:pt x="28113" y="632666"/>
                  </a:cubicBezTo>
                  <a:cubicBezTo>
                    <a:pt x="-23957" y="623141"/>
                    <a:pt x="12873" y="572341"/>
                    <a:pt x="9698" y="536146"/>
                  </a:cubicBezTo>
                  <a:cubicBezTo>
                    <a:pt x="20493" y="531066"/>
                    <a:pt x="35098" y="532336"/>
                    <a:pt x="47163" y="534241"/>
                  </a:cubicBezTo>
                  <a:cubicBezTo>
                    <a:pt x="79548" y="416131"/>
                    <a:pt x="89708" y="287226"/>
                    <a:pt x="105583" y="164036"/>
                  </a:cubicBezTo>
                  <a:cubicBezTo>
                    <a:pt x="103043" y="132286"/>
                    <a:pt x="128443" y="141811"/>
                    <a:pt x="150033" y="136731"/>
                  </a:cubicBezTo>
                  <a:cubicBezTo>
                    <a:pt x="148128" y="119586"/>
                    <a:pt x="111933" y="3381"/>
                    <a:pt x="143683" y="4016"/>
                  </a:cubicBezTo>
                  <a:cubicBezTo>
                    <a:pt x="226868" y="-22019"/>
                    <a:pt x="207183" y="85296"/>
                    <a:pt x="187498" y="131651"/>
                  </a:cubicBezTo>
                  <a:cubicBezTo>
                    <a:pt x="214168" y="144351"/>
                    <a:pt x="240838" y="139906"/>
                    <a:pt x="242743" y="179911"/>
                  </a:cubicBezTo>
                  <a:cubicBezTo>
                    <a:pt x="263063" y="301196"/>
                    <a:pt x="290368" y="422481"/>
                    <a:pt x="319578" y="542496"/>
                  </a:cubicBezTo>
                  <a:close/>
                  <a:moveTo>
                    <a:pt x="311323" y="649811"/>
                  </a:moveTo>
                  <a:cubicBezTo>
                    <a:pt x="294178" y="503126"/>
                    <a:pt x="253538" y="351996"/>
                    <a:pt x="217978" y="207851"/>
                  </a:cubicBezTo>
                  <a:cubicBezTo>
                    <a:pt x="200833" y="217376"/>
                    <a:pt x="197658" y="242776"/>
                    <a:pt x="186228" y="258651"/>
                  </a:cubicBezTo>
                  <a:cubicBezTo>
                    <a:pt x="236393" y="387556"/>
                    <a:pt x="258618" y="523446"/>
                    <a:pt x="311323" y="649811"/>
                  </a:cubicBezTo>
                  <a:close/>
                  <a:moveTo>
                    <a:pt x="77643" y="517731"/>
                  </a:moveTo>
                  <a:cubicBezTo>
                    <a:pt x="112568" y="444071"/>
                    <a:pt x="112568" y="363426"/>
                    <a:pt x="141778" y="288496"/>
                  </a:cubicBezTo>
                  <a:cubicBezTo>
                    <a:pt x="153208" y="259921"/>
                    <a:pt x="143048" y="230711"/>
                    <a:pt x="123998" y="208486"/>
                  </a:cubicBezTo>
                  <a:cubicBezTo>
                    <a:pt x="100503" y="312626"/>
                    <a:pt x="94788" y="412956"/>
                    <a:pt x="77643" y="517731"/>
                  </a:cubicBezTo>
                  <a:close/>
                  <a:moveTo>
                    <a:pt x="166543" y="240871"/>
                  </a:moveTo>
                  <a:cubicBezTo>
                    <a:pt x="183053" y="211026"/>
                    <a:pt x="205913" y="190706"/>
                    <a:pt x="204008" y="160861"/>
                  </a:cubicBezTo>
                  <a:cubicBezTo>
                    <a:pt x="175433" y="152606"/>
                    <a:pt x="167813" y="152606"/>
                    <a:pt x="141778" y="164671"/>
                  </a:cubicBezTo>
                  <a:cubicBezTo>
                    <a:pt x="145588" y="188801"/>
                    <a:pt x="154478" y="211661"/>
                    <a:pt x="166543" y="240871"/>
                  </a:cubicBezTo>
                  <a:close/>
                  <a:moveTo>
                    <a:pt x="171623" y="104346"/>
                  </a:moveTo>
                  <a:cubicBezTo>
                    <a:pt x="183053" y="73231"/>
                    <a:pt x="181783" y="45291"/>
                    <a:pt x="167813" y="21796"/>
                  </a:cubicBezTo>
                  <a:cubicBezTo>
                    <a:pt x="152573" y="37036"/>
                    <a:pt x="148128" y="94821"/>
                    <a:pt x="171623" y="1043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19" name="Google Shape;30;p2">
              <a:extLst>
                <a:ext uri="{FF2B5EF4-FFF2-40B4-BE49-F238E27FC236}">
                  <a16:creationId xmlns:a16="http://schemas.microsoft.com/office/drawing/2014/main" id="{E5CD0861-C851-415E-9618-0358C8F35B16}"/>
                </a:ext>
              </a:extLst>
            </p:cNvPr>
            <p:cNvGrpSpPr/>
            <p:nvPr/>
          </p:nvGrpSpPr>
          <p:grpSpPr>
            <a:xfrm>
              <a:off x="968652" y="3696885"/>
              <a:ext cx="565312" cy="602473"/>
              <a:chOff x="813652" y="3801560"/>
              <a:chExt cx="565312" cy="602473"/>
            </a:xfrm>
          </p:grpSpPr>
          <p:sp>
            <p:nvSpPr>
              <p:cNvPr id="96" name="Google Shape;31;p2">
                <a:extLst>
                  <a:ext uri="{FF2B5EF4-FFF2-40B4-BE49-F238E27FC236}">
                    <a16:creationId xmlns:a16="http://schemas.microsoft.com/office/drawing/2014/main" id="{0E52EBA3-E209-4845-A921-54D168D9F53B}"/>
                  </a:ext>
                </a:extLst>
              </p:cNvPr>
              <p:cNvSpPr/>
              <p:nvPr/>
            </p:nvSpPr>
            <p:spPr>
              <a:xfrm rot="6264782">
                <a:off x="849950" y="3919090"/>
                <a:ext cx="380679" cy="370162"/>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7" name="Google Shape;32;p2">
                <a:extLst>
                  <a:ext uri="{FF2B5EF4-FFF2-40B4-BE49-F238E27FC236}">
                    <a16:creationId xmlns:a16="http://schemas.microsoft.com/office/drawing/2014/main" id="{83C02F3D-0741-41F5-9477-B7E0E381D908}"/>
                  </a:ext>
                </a:extLst>
              </p:cNvPr>
              <p:cNvSpPr/>
              <p:nvPr/>
            </p:nvSpPr>
            <p:spPr>
              <a:xfrm rot="-1974315">
                <a:off x="996275" y="3825647"/>
                <a:ext cx="252371" cy="554298"/>
              </a:xfrm>
              <a:custGeom>
                <a:avLst/>
                <a:gdLst/>
                <a:ahLst/>
                <a:cxnLst/>
                <a:rect l="l" t="t" r="r" b="b"/>
                <a:pathLst>
                  <a:path w="293264" h="644114" extrusionOk="0">
                    <a:moveTo>
                      <a:pt x="192317" y="238399"/>
                    </a:moveTo>
                    <a:cubicBezTo>
                      <a:pt x="164377" y="222524"/>
                      <a:pt x="132627" y="214904"/>
                      <a:pt x="98972" y="219349"/>
                    </a:cubicBezTo>
                    <a:cubicBezTo>
                      <a:pt x="129452" y="294914"/>
                      <a:pt x="237402" y="315234"/>
                      <a:pt x="251372" y="404769"/>
                    </a:cubicBezTo>
                    <a:cubicBezTo>
                      <a:pt x="252642" y="460649"/>
                      <a:pt x="311697" y="543834"/>
                      <a:pt x="261532" y="586379"/>
                    </a:cubicBezTo>
                    <a:cubicBezTo>
                      <a:pt x="224067" y="575584"/>
                      <a:pt x="258357" y="527959"/>
                      <a:pt x="234227" y="507004"/>
                    </a:cubicBezTo>
                    <a:cubicBezTo>
                      <a:pt x="194222" y="529864"/>
                      <a:pt x="63412" y="557804"/>
                      <a:pt x="62142" y="603524"/>
                    </a:cubicBezTo>
                    <a:cubicBezTo>
                      <a:pt x="62777" y="619399"/>
                      <a:pt x="64682" y="648609"/>
                      <a:pt x="41187" y="643529"/>
                    </a:cubicBezTo>
                    <a:cubicBezTo>
                      <a:pt x="-4533" y="623209"/>
                      <a:pt x="16422" y="457474"/>
                      <a:pt x="36107" y="414929"/>
                    </a:cubicBezTo>
                    <a:cubicBezTo>
                      <a:pt x="50077" y="373654"/>
                      <a:pt x="121832" y="296819"/>
                      <a:pt x="102782" y="394609"/>
                    </a:cubicBezTo>
                    <a:cubicBezTo>
                      <a:pt x="127547" y="386989"/>
                      <a:pt x="143422" y="371749"/>
                      <a:pt x="161202" y="357779"/>
                    </a:cubicBezTo>
                    <a:cubicBezTo>
                      <a:pt x="144692" y="329204"/>
                      <a:pt x="111037" y="319044"/>
                      <a:pt x="85637" y="299994"/>
                    </a:cubicBezTo>
                    <a:cubicBezTo>
                      <a:pt x="547" y="235859"/>
                      <a:pt x="-10248" y="106954"/>
                      <a:pt x="6897" y="8529"/>
                    </a:cubicBezTo>
                    <a:cubicBezTo>
                      <a:pt x="22772" y="-996"/>
                      <a:pt x="36742" y="-1631"/>
                      <a:pt x="53887" y="2179"/>
                    </a:cubicBezTo>
                    <a:cubicBezTo>
                      <a:pt x="55792" y="13609"/>
                      <a:pt x="57062" y="23769"/>
                      <a:pt x="58332" y="35834"/>
                    </a:cubicBezTo>
                    <a:cubicBezTo>
                      <a:pt x="118022" y="49169"/>
                      <a:pt x="178347" y="68219"/>
                      <a:pt x="239307" y="69489"/>
                    </a:cubicBezTo>
                    <a:cubicBezTo>
                      <a:pt x="248197" y="52344"/>
                      <a:pt x="239942" y="35199"/>
                      <a:pt x="241847" y="16784"/>
                    </a:cubicBezTo>
                    <a:cubicBezTo>
                      <a:pt x="338367" y="-44176"/>
                      <a:pt x="278042" y="223159"/>
                      <a:pt x="230417" y="240939"/>
                    </a:cubicBezTo>
                    <a:cubicBezTo>
                      <a:pt x="215812" y="249829"/>
                      <a:pt x="209462" y="267609"/>
                      <a:pt x="193587" y="273959"/>
                    </a:cubicBezTo>
                    <a:cubicBezTo>
                      <a:pt x="163107" y="281579"/>
                      <a:pt x="175807" y="250464"/>
                      <a:pt x="192317" y="238399"/>
                    </a:cubicBezTo>
                    <a:close/>
                    <a:moveTo>
                      <a:pt x="59602" y="64409"/>
                    </a:moveTo>
                    <a:cubicBezTo>
                      <a:pt x="51347" y="143149"/>
                      <a:pt x="151677" y="122829"/>
                      <a:pt x="202477" y="142514"/>
                    </a:cubicBezTo>
                    <a:cubicBezTo>
                      <a:pt x="236767" y="152039"/>
                      <a:pt x="234862" y="150769"/>
                      <a:pt x="241212" y="114574"/>
                    </a:cubicBezTo>
                    <a:cubicBezTo>
                      <a:pt x="245657" y="81554"/>
                      <a:pt x="196127" y="91079"/>
                      <a:pt x="175172" y="82189"/>
                    </a:cubicBezTo>
                    <a:cubicBezTo>
                      <a:pt x="136437" y="77744"/>
                      <a:pt x="98337" y="58059"/>
                      <a:pt x="59602" y="64409"/>
                    </a:cubicBezTo>
                    <a:close/>
                    <a:moveTo>
                      <a:pt x="217082" y="436519"/>
                    </a:moveTo>
                    <a:cubicBezTo>
                      <a:pt x="169457" y="446044"/>
                      <a:pt x="128182" y="479064"/>
                      <a:pt x="83097" y="497479"/>
                    </a:cubicBezTo>
                    <a:cubicBezTo>
                      <a:pt x="58967" y="507004"/>
                      <a:pt x="61507" y="531134"/>
                      <a:pt x="65317" y="553359"/>
                    </a:cubicBezTo>
                    <a:cubicBezTo>
                      <a:pt x="122467" y="537484"/>
                      <a:pt x="180887" y="512719"/>
                      <a:pt x="229782" y="479699"/>
                    </a:cubicBezTo>
                    <a:cubicBezTo>
                      <a:pt x="232322" y="462554"/>
                      <a:pt x="225972" y="448584"/>
                      <a:pt x="217082" y="436519"/>
                    </a:cubicBezTo>
                    <a:close/>
                    <a:moveTo>
                      <a:pt x="78017" y="185694"/>
                    </a:moveTo>
                    <a:cubicBezTo>
                      <a:pt x="120562" y="199029"/>
                      <a:pt x="173267" y="219349"/>
                      <a:pt x="214542" y="207919"/>
                    </a:cubicBezTo>
                    <a:cubicBezTo>
                      <a:pt x="232957" y="186964"/>
                      <a:pt x="227877" y="167914"/>
                      <a:pt x="201207" y="160929"/>
                    </a:cubicBezTo>
                    <a:cubicBezTo>
                      <a:pt x="158027" y="153944"/>
                      <a:pt x="114847" y="138069"/>
                      <a:pt x="71032" y="136164"/>
                    </a:cubicBezTo>
                    <a:cubicBezTo>
                      <a:pt x="69127" y="160929"/>
                      <a:pt x="69127" y="160929"/>
                      <a:pt x="78017" y="185694"/>
                    </a:cubicBezTo>
                    <a:close/>
                    <a:moveTo>
                      <a:pt x="72302" y="477159"/>
                    </a:moveTo>
                    <a:cubicBezTo>
                      <a:pt x="123102" y="460649"/>
                      <a:pt x="162472" y="436519"/>
                      <a:pt x="205652" y="414294"/>
                    </a:cubicBezTo>
                    <a:cubicBezTo>
                      <a:pt x="202477" y="377464"/>
                      <a:pt x="173902" y="366034"/>
                      <a:pt x="148502" y="391434"/>
                    </a:cubicBezTo>
                    <a:cubicBezTo>
                      <a:pt x="113577" y="415564"/>
                      <a:pt x="72937" y="425089"/>
                      <a:pt x="72302" y="477159"/>
                    </a:cubicBezTo>
                    <a:close/>
                    <a:moveTo>
                      <a:pt x="105322" y="284119"/>
                    </a:moveTo>
                    <a:cubicBezTo>
                      <a:pt x="105957" y="282849"/>
                      <a:pt x="107227" y="282214"/>
                      <a:pt x="107862" y="280944"/>
                    </a:cubicBezTo>
                    <a:cubicBezTo>
                      <a:pt x="40552" y="217444"/>
                      <a:pt x="52617" y="132989"/>
                      <a:pt x="27852" y="52979"/>
                    </a:cubicBezTo>
                    <a:cubicBezTo>
                      <a:pt x="18962" y="131719"/>
                      <a:pt x="35472" y="237129"/>
                      <a:pt x="105322" y="28411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0" name="Google Shape;33;p2">
              <a:extLst>
                <a:ext uri="{FF2B5EF4-FFF2-40B4-BE49-F238E27FC236}">
                  <a16:creationId xmlns:a16="http://schemas.microsoft.com/office/drawing/2014/main" id="{F1985F7F-0CD7-4E5B-B177-05BFF6116C13}"/>
                </a:ext>
              </a:extLst>
            </p:cNvPr>
            <p:cNvSpPr/>
            <p:nvPr/>
          </p:nvSpPr>
          <p:spPr>
            <a:xfrm>
              <a:off x="4101001" y="4649180"/>
              <a:ext cx="376856" cy="254902"/>
            </a:xfrm>
            <a:custGeom>
              <a:avLst/>
              <a:gdLst/>
              <a:ahLst/>
              <a:cxnLst/>
              <a:rect l="l" t="t" r="r" b="b"/>
              <a:pathLst>
                <a:path w="575352" h="389164" extrusionOk="0">
                  <a:moveTo>
                    <a:pt x="575352" y="173355"/>
                  </a:moveTo>
                  <a:cubicBezTo>
                    <a:pt x="489627" y="224155"/>
                    <a:pt x="287063" y="336550"/>
                    <a:pt x="285793" y="356235"/>
                  </a:cubicBezTo>
                  <a:cubicBezTo>
                    <a:pt x="285158" y="365760"/>
                    <a:pt x="273093" y="372745"/>
                    <a:pt x="263568" y="368935"/>
                  </a:cubicBezTo>
                  <a:cubicBezTo>
                    <a:pt x="189273" y="366395"/>
                    <a:pt x="106088" y="378460"/>
                    <a:pt x="31793" y="385445"/>
                  </a:cubicBezTo>
                  <a:cubicBezTo>
                    <a:pt x="9568" y="398145"/>
                    <a:pt x="-9482" y="375920"/>
                    <a:pt x="5123" y="354965"/>
                  </a:cubicBezTo>
                  <a:cubicBezTo>
                    <a:pt x="34333" y="295275"/>
                    <a:pt x="47033" y="213995"/>
                    <a:pt x="97198" y="170180"/>
                  </a:cubicBezTo>
                  <a:cubicBezTo>
                    <a:pt x="198163" y="112395"/>
                    <a:pt x="294683" y="47625"/>
                    <a:pt x="400727" y="0"/>
                  </a:cubicBezTo>
                  <a:cubicBezTo>
                    <a:pt x="583608" y="18415"/>
                    <a:pt x="570273" y="-16510"/>
                    <a:pt x="575352" y="173355"/>
                  </a:cubicBezTo>
                  <a:close/>
                  <a:moveTo>
                    <a:pt x="292777" y="199390"/>
                  </a:moveTo>
                  <a:cubicBezTo>
                    <a:pt x="223563" y="208915"/>
                    <a:pt x="154983" y="208280"/>
                    <a:pt x="86402" y="220980"/>
                  </a:cubicBezTo>
                  <a:cubicBezTo>
                    <a:pt x="70527" y="268605"/>
                    <a:pt x="27983" y="310515"/>
                    <a:pt x="32427" y="359410"/>
                  </a:cubicBezTo>
                  <a:cubicBezTo>
                    <a:pt x="98468" y="358775"/>
                    <a:pt x="165143" y="359410"/>
                    <a:pt x="229913" y="343535"/>
                  </a:cubicBezTo>
                  <a:cubicBezTo>
                    <a:pt x="285793" y="323215"/>
                    <a:pt x="275633" y="250190"/>
                    <a:pt x="292777" y="199390"/>
                  </a:cubicBezTo>
                  <a:close/>
                  <a:moveTo>
                    <a:pt x="398188" y="146685"/>
                  </a:moveTo>
                  <a:cubicBezTo>
                    <a:pt x="374693" y="151765"/>
                    <a:pt x="340402" y="168910"/>
                    <a:pt x="320083" y="186055"/>
                  </a:cubicBezTo>
                  <a:cubicBezTo>
                    <a:pt x="314368" y="225425"/>
                    <a:pt x="288968" y="274320"/>
                    <a:pt x="292143" y="320040"/>
                  </a:cubicBezTo>
                  <a:cubicBezTo>
                    <a:pt x="327702" y="303530"/>
                    <a:pt x="361993" y="272415"/>
                    <a:pt x="392473" y="250825"/>
                  </a:cubicBezTo>
                  <a:cubicBezTo>
                    <a:pt x="389933" y="213995"/>
                    <a:pt x="397552" y="181610"/>
                    <a:pt x="398188" y="146685"/>
                  </a:cubicBezTo>
                  <a:close/>
                  <a:moveTo>
                    <a:pt x="115613" y="186055"/>
                  </a:moveTo>
                  <a:cubicBezTo>
                    <a:pt x="167683" y="207010"/>
                    <a:pt x="302302" y="179705"/>
                    <a:pt x="346118" y="135890"/>
                  </a:cubicBezTo>
                  <a:cubicBezTo>
                    <a:pt x="266743" y="97155"/>
                    <a:pt x="180383" y="131445"/>
                    <a:pt x="115613" y="186055"/>
                  </a:cubicBezTo>
                  <a:close/>
                  <a:moveTo>
                    <a:pt x="417238" y="231775"/>
                  </a:moveTo>
                  <a:cubicBezTo>
                    <a:pt x="433748" y="227330"/>
                    <a:pt x="435018" y="226060"/>
                    <a:pt x="435018" y="215265"/>
                  </a:cubicBezTo>
                  <a:cubicBezTo>
                    <a:pt x="431843" y="191135"/>
                    <a:pt x="440733" y="163195"/>
                    <a:pt x="429302" y="140970"/>
                  </a:cubicBezTo>
                  <a:cubicBezTo>
                    <a:pt x="415333" y="166370"/>
                    <a:pt x="410252" y="204470"/>
                    <a:pt x="417238" y="231775"/>
                  </a:cubicBezTo>
                  <a:close/>
                  <a:moveTo>
                    <a:pt x="506138" y="85090"/>
                  </a:moveTo>
                  <a:cubicBezTo>
                    <a:pt x="509948" y="120650"/>
                    <a:pt x="498518" y="147955"/>
                    <a:pt x="507408" y="184785"/>
                  </a:cubicBezTo>
                  <a:cubicBezTo>
                    <a:pt x="526458" y="157480"/>
                    <a:pt x="517568" y="111125"/>
                    <a:pt x="506138" y="85090"/>
                  </a:cubicBezTo>
                  <a:close/>
                  <a:moveTo>
                    <a:pt x="482643" y="190500"/>
                  </a:moveTo>
                  <a:cubicBezTo>
                    <a:pt x="480738" y="159385"/>
                    <a:pt x="497883" y="125095"/>
                    <a:pt x="481373" y="101600"/>
                  </a:cubicBezTo>
                  <a:cubicBezTo>
                    <a:pt x="473118" y="125730"/>
                    <a:pt x="473118" y="147955"/>
                    <a:pt x="482643" y="190500"/>
                  </a:cubicBezTo>
                  <a:close/>
                  <a:moveTo>
                    <a:pt x="453433" y="168275"/>
                  </a:moveTo>
                  <a:cubicBezTo>
                    <a:pt x="445177" y="182880"/>
                    <a:pt x="440098" y="203200"/>
                    <a:pt x="457877" y="212090"/>
                  </a:cubicBezTo>
                  <a:cubicBezTo>
                    <a:pt x="462323" y="194945"/>
                    <a:pt x="461052" y="181610"/>
                    <a:pt x="453433" y="168275"/>
                  </a:cubicBezTo>
                  <a:close/>
                  <a:moveTo>
                    <a:pt x="408348" y="66675"/>
                  </a:moveTo>
                  <a:cubicBezTo>
                    <a:pt x="412158" y="80645"/>
                    <a:pt x="437558" y="79375"/>
                    <a:pt x="453433" y="74930"/>
                  </a:cubicBezTo>
                  <a:cubicBezTo>
                    <a:pt x="437558" y="62865"/>
                    <a:pt x="422952" y="67945"/>
                    <a:pt x="408348" y="66675"/>
                  </a:cubicBezTo>
                  <a:close/>
                  <a:moveTo>
                    <a:pt x="495343" y="48895"/>
                  </a:moveTo>
                  <a:cubicBezTo>
                    <a:pt x="479468" y="37465"/>
                    <a:pt x="471213" y="36195"/>
                    <a:pt x="442638" y="40640"/>
                  </a:cubicBezTo>
                  <a:cubicBezTo>
                    <a:pt x="464227" y="42545"/>
                    <a:pt x="478833" y="53340"/>
                    <a:pt x="495343" y="48895"/>
                  </a:cubicBezTo>
                  <a:close/>
                  <a:moveTo>
                    <a:pt x="335958" y="89535"/>
                  </a:moveTo>
                  <a:cubicBezTo>
                    <a:pt x="321352" y="76200"/>
                    <a:pt x="305477" y="73025"/>
                    <a:pt x="293413" y="88900"/>
                  </a:cubicBezTo>
                  <a:cubicBezTo>
                    <a:pt x="308652" y="92710"/>
                    <a:pt x="320718" y="92710"/>
                    <a:pt x="335958" y="89535"/>
                  </a:cubicBezTo>
                  <a:close/>
                  <a:moveTo>
                    <a:pt x="539793" y="65405"/>
                  </a:moveTo>
                  <a:cubicBezTo>
                    <a:pt x="527727" y="76200"/>
                    <a:pt x="528363" y="81280"/>
                    <a:pt x="540427" y="92075"/>
                  </a:cubicBezTo>
                  <a:cubicBezTo>
                    <a:pt x="543602" y="83185"/>
                    <a:pt x="544873" y="74295"/>
                    <a:pt x="539793" y="654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1" name="Google Shape;34;p2">
              <a:extLst>
                <a:ext uri="{FF2B5EF4-FFF2-40B4-BE49-F238E27FC236}">
                  <a16:creationId xmlns:a16="http://schemas.microsoft.com/office/drawing/2014/main" id="{72897235-3719-4DD4-823D-8C397B5C0EAE}"/>
                </a:ext>
              </a:extLst>
            </p:cNvPr>
            <p:cNvSpPr/>
            <p:nvPr/>
          </p:nvSpPr>
          <p:spPr>
            <a:xfrm>
              <a:off x="8091625" y="827000"/>
              <a:ext cx="485245" cy="329049"/>
            </a:xfrm>
            <a:custGeom>
              <a:avLst/>
              <a:gdLst/>
              <a:ahLst/>
              <a:cxnLst/>
              <a:rect l="l" t="t" r="r" b="b"/>
              <a:pathLst>
                <a:path w="620122" h="420510" extrusionOk="0">
                  <a:moveTo>
                    <a:pt x="1362" y="54610"/>
                  </a:moveTo>
                  <a:cubicBezTo>
                    <a:pt x="-31023" y="-68580"/>
                    <a:pt x="523967" y="55245"/>
                    <a:pt x="605247" y="54610"/>
                  </a:cubicBezTo>
                  <a:cubicBezTo>
                    <a:pt x="675732" y="78740"/>
                    <a:pt x="469992" y="177800"/>
                    <a:pt x="522062" y="355600"/>
                  </a:cubicBezTo>
                  <a:cubicBezTo>
                    <a:pt x="492217" y="360045"/>
                    <a:pt x="461102" y="331470"/>
                    <a:pt x="433162" y="323850"/>
                  </a:cubicBezTo>
                  <a:cubicBezTo>
                    <a:pt x="398237" y="328930"/>
                    <a:pt x="342992" y="455930"/>
                    <a:pt x="327752" y="410845"/>
                  </a:cubicBezTo>
                  <a:cubicBezTo>
                    <a:pt x="228057" y="287020"/>
                    <a:pt x="113757" y="169545"/>
                    <a:pt x="1362" y="54610"/>
                  </a:cubicBezTo>
                  <a:close/>
                  <a:moveTo>
                    <a:pt x="591277" y="78740"/>
                  </a:moveTo>
                  <a:cubicBezTo>
                    <a:pt x="418557" y="50800"/>
                    <a:pt x="245837" y="13335"/>
                    <a:pt x="69942" y="28575"/>
                  </a:cubicBezTo>
                  <a:cubicBezTo>
                    <a:pt x="217262" y="83820"/>
                    <a:pt x="363947" y="134620"/>
                    <a:pt x="513807" y="186055"/>
                  </a:cubicBezTo>
                  <a:cubicBezTo>
                    <a:pt x="542382" y="154305"/>
                    <a:pt x="569052" y="120650"/>
                    <a:pt x="591277" y="78740"/>
                  </a:cubicBezTo>
                  <a:close/>
                  <a:moveTo>
                    <a:pt x="443957" y="267335"/>
                  </a:moveTo>
                  <a:cubicBezTo>
                    <a:pt x="319497" y="199390"/>
                    <a:pt x="185512" y="113665"/>
                    <a:pt x="57242" y="74930"/>
                  </a:cubicBezTo>
                  <a:cubicBezTo>
                    <a:pt x="154397" y="174625"/>
                    <a:pt x="238852" y="289560"/>
                    <a:pt x="344897" y="379095"/>
                  </a:cubicBezTo>
                  <a:cubicBezTo>
                    <a:pt x="380457" y="344170"/>
                    <a:pt x="414747" y="311150"/>
                    <a:pt x="443957" y="267335"/>
                  </a:cubicBezTo>
                  <a:close/>
                  <a:moveTo>
                    <a:pt x="494122" y="207010"/>
                  </a:moveTo>
                  <a:cubicBezTo>
                    <a:pt x="380457" y="167640"/>
                    <a:pt x="263617" y="100330"/>
                    <a:pt x="146777" y="87630"/>
                  </a:cubicBezTo>
                  <a:cubicBezTo>
                    <a:pt x="262347" y="134620"/>
                    <a:pt x="363947" y="216535"/>
                    <a:pt x="484597" y="246380"/>
                  </a:cubicBezTo>
                  <a:cubicBezTo>
                    <a:pt x="480787" y="264795"/>
                    <a:pt x="472532" y="281305"/>
                    <a:pt x="490947" y="292735"/>
                  </a:cubicBezTo>
                  <a:cubicBezTo>
                    <a:pt x="503012" y="251460"/>
                    <a:pt x="502377" y="238125"/>
                    <a:pt x="494122" y="2070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2" name="Google Shape;35;p2">
              <a:extLst>
                <a:ext uri="{FF2B5EF4-FFF2-40B4-BE49-F238E27FC236}">
                  <a16:creationId xmlns:a16="http://schemas.microsoft.com/office/drawing/2014/main" id="{5A3FACA7-85C1-4399-A3E0-CB15AC77FC10}"/>
                </a:ext>
              </a:extLst>
            </p:cNvPr>
            <p:cNvSpPr/>
            <p:nvPr/>
          </p:nvSpPr>
          <p:spPr>
            <a:xfrm rot="3971375">
              <a:off x="3138581" y="4622816"/>
              <a:ext cx="362909" cy="668479"/>
            </a:xfrm>
            <a:custGeom>
              <a:avLst/>
              <a:gdLst/>
              <a:ahLst/>
              <a:cxnLst/>
              <a:rect l="l" t="t" r="r" b="b"/>
              <a:pathLst>
                <a:path w="421613" h="776612" extrusionOk="0">
                  <a:moveTo>
                    <a:pt x="99839" y="349282"/>
                  </a:moveTo>
                  <a:cubicBezTo>
                    <a:pt x="-9381" y="246412"/>
                    <a:pt x="19194" y="15272"/>
                    <a:pt x="189374" y="32"/>
                  </a:cubicBezTo>
                  <a:cubicBezTo>
                    <a:pt x="381144" y="-3143"/>
                    <a:pt x="497984" y="232442"/>
                    <a:pt x="363999" y="377222"/>
                  </a:cubicBezTo>
                  <a:cubicBezTo>
                    <a:pt x="448453" y="504222"/>
                    <a:pt x="402734" y="743617"/>
                    <a:pt x="235728" y="773462"/>
                  </a:cubicBezTo>
                  <a:cubicBezTo>
                    <a:pt x="125874" y="796957"/>
                    <a:pt x="24909" y="684562"/>
                    <a:pt x="4589" y="585502"/>
                  </a:cubicBezTo>
                  <a:cubicBezTo>
                    <a:pt x="-17001" y="491522"/>
                    <a:pt x="41419" y="414052"/>
                    <a:pt x="99839" y="349282"/>
                  </a:cubicBezTo>
                  <a:close/>
                  <a:moveTo>
                    <a:pt x="113174" y="363887"/>
                  </a:moveTo>
                  <a:cubicBezTo>
                    <a:pt x="60469" y="429927"/>
                    <a:pt x="-6206" y="502317"/>
                    <a:pt x="28084" y="594392"/>
                  </a:cubicBezTo>
                  <a:cubicBezTo>
                    <a:pt x="55389" y="680117"/>
                    <a:pt x="137939" y="773462"/>
                    <a:pt x="236999" y="755047"/>
                  </a:cubicBezTo>
                  <a:cubicBezTo>
                    <a:pt x="372253" y="724567"/>
                    <a:pt x="403369" y="568357"/>
                    <a:pt x="375428" y="450247"/>
                  </a:cubicBezTo>
                  <a:cubicBezTo>
                    <a:pt x="371619" y="427387"/>
                    <a:pt x="367809" y="403257"/>
                    <a:pt x="340503" y="395002"/>
                  </a:cubicBezTo>
                  <a:cubicBezTo>
                    <a:pt x="330344" y="400082"/>
                    <a:pt x="316374" y="404527"/>
                    <a:pt x="306214" y="412782"/>
                  </a:cubicBezTo>
                  <a:cubicBezTo>
                    <a:pt x="292244" y="424212"/>
                    <a:pt x="276369" y="408337"/>
                    <a:pt x="263669" y="418497"/>
                  </a:cubicBezTo>
                  <a:cubicBezTo>
                    <a:pt x="206519" y="425482"/>
                    <a:pt x="159528" y="398177"/>
                    <a:pt x="113174" y="363887"/>
                  </a:cubicBezTo>
                  <a:close/>
                  <a:moveTo>
                    <a:pt x="343678" y="364522"/>
                  </a:moveTo>
                  <a:cubicBezTo>
                    <a:pt x="427499" y="287052"/>
                    <a:pt x="415434" y="127032"/>
                    <a:pt x="317009" y="67342"/>
                  </a:cubicBezTo>
                  <a:cubicBezTo>
                    <a:pt x="218584" y="-10128"/>
                    <a:pt x="108728" y="4477"/>
                    <a:pt x="61739" y="125762"/>
                  </a:cubicBezTo>
                  <a:cubicBezTo>
                    <a:pt x="49039" y="190532"/>
                    <a:pt x="59199" y="321977"/>
                    <a:pt x="138574" y="332772"/>
                  </a:cubicBezTo>
                  <a:cubicBezTo>
                    <a:pt x="207789" y="290227"/>
                    <a:pt x="282719" y="322612"/>
                    <a:pt x="343678" y="364522"/>
                  </a:cubicBezTo>
                  <a:close/>
                  <a:moveTo>
                    <a:pt x="318914" y="379127"/>
                  </a:moveTo>
                  <a:cubicBezTo>
                    <a:pt x="306849" y="365792"/>
                    <a:pt x="294784" y="353727"/>
                    <a:pt x="273828" y="349282"/>
                  </a:cubicBezTo>
                  <a:cubicBezTo>
                    <a:pt x="280178" y="372777"/>
                    <a:pt x="291609" y="400717"/>
                    <a:pt x="318914" y="379127"/>
                  </a:cubicBezTo>
                  <a:close/>
                  <a:moveTo>
                    <a:pt x="211599" y="382302"/>
                  </a:moveTo>
                  <a:cubicBezTo>
                    <a:pt x="208424" y="357537"/>
                    <a:pt x="203344" y="315627"/>
                    <a:pt x="179849" y="340392"/>
                  </a:cubicBezTo>
                  <a:cubicBezTo>
                    <a:pt x="191278" y="353092"/>
                    <a:pt x="196994" y="369602"/>
                    <a:pt x="211599" y="382302"/>
                  </a:cubicBezTo>
                  <a:close/>
                  <a:moveTo>
                    <a:pt x="265574" y="395637"/>
                  </a:moveTo>
                  <a:cubicBezTo>
                    <a:pt x="251603" y="373412"/>
                    <a:pt x="248428" y="351822"/>
                    <a:pt x="233189" y="341027"/>
                  </a:cubicBezTo>
                  <a:cubicBezTo>
                    <a:pt x="229378" y="361982"/>
                    <a:pt x="236999" y="377222"/>
                    <a:pt x="265574" y="395637"/>
                  </a:cubicBezTo>
                  <a:close/>
                  <a:moveTo>
                    <a:pt x="167784" y="366427"/>
                  </a:moveTo>
                  <a:cubicBezTo>
                    <a:pt x="165244" y="354997"/>
                    <a:pt x="156989" y="341027"/>
                    <a:pt x="146828" y="349917"/>
                  </a:cubicBezTo>
                  <a:cubicBezTo>
                    <a:pt x="147464" y="361347"/>
                    <a:pt x="156989" y="368332"/>
                    <a:pt x="167784" y="36642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3" name="Google Shape;36;p2">
              <a:extLst>
                <a:ext uri="{FF2B5EF4-FFF2-40B4-BE49-F238E27FC236}">
                  <a16:creationId xmlns:a16="http://schemas.microsoft.com/office/drawing/2014/main" id="{642AD79A-DD76-4AD3-81C6-4ACA9BE0101A}"/>
                </a:ext>
              </a:extLst>
            </p:cNvPr>
            <p:cNvSpPr/>
            <p:nvPr/>
          </p:nvSpPr>
          <p:spPr>
            <a:xfrm rot="-3375824">
              <a:off x="8508205" y="4088864"/>
              <a:ext cx="623152" cy="166730"/>
            </a:xfrm>
            <a:custGeom>
              <a:avLst/>
              <a:gdLst/>
              <a:ahLst/>
              <a:cxnLst/>
              <a:rect l="l" t="t" r="r" b="b"/>
              <a:pathLst>
                <a:path w="724776" h="193920" extrusionOk="0">
                  <a:moveTo>
                    <a:pt x="536612" y="138058"/>
                  </a:moveTo>
                  <a:cubicBezTo>
                    <a:pt x="412787" y="137423"/>
                    <a:pt x="278168" y="171713"/>
                    <a:pt x="151168" y="192033"/>
                  </a:cubicBezTo>
                  <a:cubicBezTo>
                    <a:pt x="124497" y="199653"/>
                    <a:pt x="-29807" y="184413"/>
                    <a:pt x="5118" y="142503"/>
                  </a:cubicBezTo>
                  <a:cubicBezTo>
                    <a:pt x="118783" y="37093"/>
                    <a:pt x="265468" y="56778"/>
                    <a:pt x="408978" y="32013"/>
                  </a:cubicBezTo>
                  <a:cubicBezTo>
                    <a:pt x="490258" y="33283"/>
                    <a:pt x="579158" y="-16882"/>
                    <a:pt x="655358" y="5978"/>
                  </a:cubicBezTo>
                  <a:cubicBezTo>
                    <a:pt x="675043" y="28203"/>
                    <a:pt x="713143" y="-12437"/>
                    <a:pt x="722033" y="26933"/>
                  </a:cubicBezTo>
                  <a:cubicBezTo>
                    <a:pt x="725208" y="40268"/>
                    <a:pt x="727747" y="54238"/>
                    <a:pt x="716953" y="68208"/>
                  </a:cubicBezTo>
                  <a:cubicBezTo>
                    <a:pt x="673137" y="67573"/>
                    <a:pt x="667422" y="106943"/>
                    <a:pt x="643928" y="137423"/>
                  </a:cubicBezTo>
                  <a:cubicBezTo>
                    <a:pt x="555662" y="152663"/>
                    <a:pt x="452793" y="199653"/>
                    <a:pt x="367068" y="192033"/>
                  </a:cubicBezTo>
                  <a:cubicBezTo>
                    <a:pt x="370878" y="153933"/>
                    <a:pt x="501053" y="157108"/>
                    <a:pt x="536612" y="138058"/>
                  </a:cubicBezTo>
                  <a:close/>
                  <a:moveTo>
                    <a:pt x="388658" y="121548"/>
                  </a:moveTo>
                  <a:cubicBezTo>
                    <a:pt x="450887" y="124723"/>
                    <a:pt x="612812" y="113928"/>
                    <a:pt x="651547" y="66303"/>
                  </a:cubicBezTo>
                  <a:cubicBezTo>
                    <a:pt x="658533" y="42808"/>
                    <a:pt x="636943" y="18043"/>
                    <a:pt x="613447" y="21218"/>
                  </a:cubicBezTo>
                  <a:cubicBezTo>
                    <a:pt x="537883" y="43443"/>
                    <a:pt x="438822" y="31378"/>
                    <a:pt x="374053" y="70748"/>
                  </a:cubicBezTo>
                  <a:cubicBezTo>
                    <a:pt x="377862" y="86623"/>
                    <a:pt x="382943" y="103133"/>
                    <a:pt x="388658" y="121548"/>
                  </a:cubicBezTo>
                  <a:close/>
                  <a:moveTo>
                    <a:pt x="347383" y="65668"/>
                  </a:moveTo>
                  <a:cubicBezTo>
                    <a:pt x="275628" y="73288"/>
                    <a:pt x="201968" y="68843"/>
                    <a:pt x="133387" y="91703"/>
                  </a:cubicBezTo>
                  <a:cubicBezTo>
                    <a:pt x="131483" y="119008"/>
                    <a:pt x="132753" y="145678"/>
                    <a:pt x="144818" y="169808"/>
                  </a:cubicBezTo>
                  <a:cubicBezTo>
                    <a:pt x="207047" y="142503"/>
                    <a:pt x="415962" y="182508"/>
                    <a:pt x="347383" y="65668"/>
                  </a:cubicBezTo>
                  <a:close/>
                  <a:moveTo>
                    <a:pt x="106083" y="110118"/>
                  </a:moveTo>
                  <a:cubicBezTo>
                    <a:pt x="81318" y="115198"/>
                    <a:pt x="37503" y="132978"/>
                    <a:pt x="52743" y="161553"/>
                  </a:cubicBezTo>
                  <a:cubicBezTo>
                    <a:pt x="71158" y="167903"/>
                    <a:pt x="90208" y="171078"/>
                    <a:pt x="111797" y="169808"/>
                  </a:cubicBezTo>
                  <a:cubicBezTo>
                    <a:pt x="115608" y="148218"/>
                    <a:pt x="114972" y="129803"/>
                    <a:pt x="106083" y="110118"/>
                  </a:cubicBezTo>
                  <a:close/>
                  <a:moveTo>
                    <a:pt x="680122" y="49793"/>
                  </a:moveTo>
                  <a:cubicBezTo>
                    <a:pt x="687743" y="47253"/>
                    <a:pt x="701712" y="49158"/>
                    <a:pt x="699172" y="37728"/>
                  </a:cubicBezTo>
                  <a:cubicBezTo>
                    <a:pt x="692187" y="30743"/>
                    <a:pt x="679487" y="37093"/>
                    <a:pt x="680122" y="4979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4" name="Google Shape;37;p2">
              <a:extLst>
                <a:ext uri="{FF2B5EF4-FFF2-40B4-BE49-F238E27FC236}">
                  <a16:creationId xmlns:a16="http://schemas.microsoft.com/office/drawing/2014/main" id="{81ECFDDF-9A1E-4C71-9C9D-5E09A2D9C4E2}"/>
                </a:ext>
              </a:extLst>
            </p:cNvPr>
            <p:cNvSpPr/>
            <p:nvPr/>
          </p:nvSpPr>
          <p:spPr>
            <a:xfrm rot="3011666">
              <a:off x="3210524" y="657803"/>
              <a:ext cx="199800" cy="513948"/>
            </a:xfrm>
            <a:custGeom>
              <a:avLst/>
              <a:gdLst/>
              <a:ahLst/>
              <a:cxnLst/>
              <a:rect l="l" t="t" r="r" b="b"/>
              <a:pathLst>
                <a:path w="232561" h="598221" extrusionOk="0">
                  <a:moveTo>
                    <a:pt x="113282" y="495986"/>
                  </a:moveTo>
                  <a:cubicBezTo>
                    <a:pt x="77722" y="519481"/>
                    <a:pt x="56132" y="585521"/>
                    <a:pt x="22477" y="598221"/>
                  </a:cubicBezTo>
                  <a:cubicBezTo>
                    <a:pt x="-37848" y="484556"/>
                    <a:pt x="39622" y="335966"/>
                    <a:pt x="64388" y="215316"/>
                  </a:cubicBezTo>
                  <a:cubicBezTo>
                    <a:pt x="82802" y="153086"/>
                    <a:pt x="100582" y="90856"/>
                    <a:pt x="115822" y="27991"/>
                  </a:cubicBezTo>
                  <a:cubicBezTo>
                    <a:pt x="125982" y="-24714"/>
                    <a:pt x="192657" y="10846"/>
                    <a:pt x="223772" y="23546"/>
                  </a:cubicBezTo>
                  <a:cubicBezTo>
                    <a:pt x="247268" y="47041"/>
                    <a:pt x="216788" y="92761"/>
                    <a:pt x="211707" y="121971"/>
                  </a:cubicBezTo>
                  <a:cubicBezTo>
                    <a:pt x="177418" y="245161"/>
                    <a:pt x="139952" y="370891"/>
                    <a:pt x="113282" y="495986"/>
                  </a:cubicBezTo>
                  <a:close/>
                  <a:moveTo>
                    <a:pt x="45338" y="459156"/>
                  </a:moveTo>
                  <a:cubicBezTo>
                    <a:pt x="74547" y="330886"/>
                    <a:pt x="116457" y="203886"/>
                    <a:pt x="145668" y="76886"/>
                  </a:cubicBezTo>
                  <a:cubicBezTo>
                    <a:pt x="109472" y="78156"/>
                    <a:pt x="92963" y="222301"/>
                    <a:pt x="77088" y="257861"/>
                  </a:cubicBezTo>
                  <a:cubicBezTo>
                    <a:pt x="76452" y="295961"/>
                    <a:pt x="252" y="454076"/>
                    <a:pt x="45972" y="458521"/>
                  </a:cubicBezTo>
                  <a:cubicBezTo>
                    <a:pt x="56768" y="469316"/>
                    <a:pt x="69468" y="475666"/>
                    <a:pt x="85977" y="474396"/>
                  </a:cubicBezTo>
                  <a:cubicBezTo>
                    <a:pt x="99313" y="448996"/>
                    <a:pt x="223772" y="55296"/>
                    <a:pt x="175513" y="85776"/>
                  </a:cubicBezTo>
                  <a:cubicBezTo>
                    <a:pt x="122807" y="140386"/>
                    <a:pt x="105027" y="464871"/>
                    <a:pt x="45338" y="459156"/>
                  </a:cubicBezTo>
                  <a:close/>
                  <a:moveTo>
                    <a:pt x="202818" y="67361"/>
                  </a:moveTo>
                  <a:cubicBezTo>
                    <a:pt x="204722" y="55296"/>
                    <a:pt x="205357" y="47676"/>
                    <a:pt x="206627" y="40691"/>
                  </a:cubicBezTo>
                  <a:cubicBezTo>
                    <a:pt x="183768" y="22276"/>
                    <a:pt x="139318" y="7671"/>
                    <a:pt x="136777" y="48311"/>
                  </a:cubicBezTo>
                  <a:cubicBezTo>
                    <a:pt x="156463" y="61011"/>
                    <a:pt x="178052" y="61646"/>
                    <a:pt x="202818" y="67361"/>
                  </a:cubicBezTo>
                  <a:close/>
                  <a:moveTo>
                    <a:pt x="28193" y="481381"/>
                  </a:moveTo>
                  <a:cubicBezTo>
                    <a:pt x="20572" y="551231"/>
                    <a:pt x="45338" y="558216"/>
                    <a:pt x="77088" y="497891"/>
                  </a:cubicBezTo>
                  <a:cubicBezTo>
                    <a:pt x="61847" y="488366"/>
                    <a:pt x="45972" y="487096"/>
                    <a:pt x="28193" y="48138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5" name="Google Shape;38;p2">
              <a:extLst>
                <a:ext uri="{FF2B5EF4-FFF2-40B4-BE49-F238E27FC236}">
                  <a16:creationId xmlns:a16="http://schemas.microsoft.com/office/drawing/2014/main" id="{A307D40B-7242-44D4-B591-17FD3BF09EB6}"/>
                </a:ext>
              </a:extLst>
            </p:cNvPr>
            <p:cNvSpPr/>
            <p:nvPr/>
          </p:nvSpPr>
          <p:spPr>
            <a:xfrm rot="2196195">
              <a:off x="6146037" y="457710"/>
              <a:ext cx="248001" cy="649145"/>
            </a:xfrm>
            <a:custGeom>
              <a:avLst/>
              <a:gdLst/>
              <a:ahLst/>
              <a:cxnLst/>
              <a:rect l="l" t="t" r="r" b="b"/>
              <a:pathLst>
                <a:path w="288538" h="755251" extrusionOk="0">
                  <a:moveTo>
                    <a:pt x="159385" y="203835"/>
                  </a:moveTo>
                  <a:cubicBezTo>
                    <a:pt x="135890" y="116840"/>
                    <a:pt x="239395" y="74295"/>
                    <a:pt x="262890" y="0"/>
                  </a:cubicBezTo>
                  <a:cubicBezTo>
                    <a:pt x="320675" y="52070"/>
                    <a:pt x="269240" y="174625"/>
                    <a:pt x="222250" y="224155"/>
                  </a:cubicBezTo>
                  <a:cubicBezTo>
                    <a:pt x="234950" y="327660"/>
                    <a:pt x="174625" y="408305"/>
                    <a:pt x="143510" y="500380"/>
                  </a:cubicBezTo>
                  <a:cubicBezTo>
                    <a:pt x="127635" y="528955"/>
                    <a:pt x="31750" y="815975"/>
                    <a:pt x="0" y="743585"/>
                  </a:cubicBezTo>
                  <a:cubicBezTo>
                    <a:pt x="43180" y="565150"/>
                    <a:pt x="33020" y="346710"/>
                    <a:pt x="159385" y="203835"/>
                  </a:cubicBezTo>
                  <a:close/>
                  <a:moveTo>
                    <a:pt x="43180" y="661035"/>
                  </a:moveTo>
                  <a:cubicBezTo>
                    <a:pt x="103505" y="576580"/>
                    <a:pt x="121920" y="466725"/>
                    <a:pt x="172085" y="375285"/>
                  </a:cubicBezTo>
                  <a:cubicBezTo>
                    <a:pt x="180340" y="353060"/>
                    <a:pt x="195580" y="327025"/>
                    <a:pt x="191135" y="303530"/>
                  </a:cubicBezTo>
                  <a:cubicBezTo>
                    <a:pt x="171450" y="297815"/>
                    <a:pt x="151765" y="292735"/>
                    <a:pt x="130810" y="287020"/>
                  </a:cubicBezTo>
                  <a:cubicBezTo>
                    <a:pt x="74295" y="403225"/>
                    <a:pt x="55880" y="534035"/>
                    <a:pt x="43180" y="661035"/>
                  </a:cubicBezTo>
                  <a:close/>
                  <a:moveTo>
                    <a:pt x="261620" y="67945"/>
                  </a:moveTo>
                  <a:cubicBezTo>
                    <a:pt x="259715" y="67310"/>
                    <a:pt x="257175" y="66040"/>
                    <a:pt x="255270" y="65405"/>
                  </a:cubicBezTo>
                  <a:cubicBezTo>
                    <a:pt x="223520" y="100965"/>
                    <a:pt x="139700" y="176530"/>
                    <a:pt x="197485" y="217805"/>
                  </a:cubicBezTo>
                  <a:cubicBezTo>
                    <a:pt x="239395" y="175260"/>
                    <a:pt x="261620" y="126365"/>
                    <a:pt x="261620" y="67945"/>
                  </a:cubicBezTo>
                  <a:close/>
                  <a:moveTo>
                    <a:pt x="194945" y="281305"/>
                  </a:moveTo>
                  <a:cubicBezTo>
                    <a:pt x="201295" y="267970"/>
                    <a:pt x="201930" y="255905"/>
                    <a:pt x="198120" y="244475"/>
                  </a:cubicBezTo>
                  <a:cubicBezTo>
                    <a:pt x="167640" y="227330"/>
                    <a:pt x="156210" y="233045"/>
                    <a:pt x="146685" y="267335"/>
                  </a:cubicBezTo>
                  <a:cubicBezTo>
                    <a:pt x="158750" y="282575"/>
                    <a:pt x="175260" y="283210"/>
                    <a:pt x="194945" y="281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26" name="Google Shape;39;p2">
              <a:extLst>
                <a:ext uri="{FF2B5EF4-FFF2-40B4-BE49-F238E27FC236}">
                  <a16:creationId xmlns:a16="http://schemas.microsoft.com/office/drawing/2014/main" id="{5604326C-FEC7-4B4A-B74C-3C1729D48495}"/>
                </a:ext>
              </a:extLst>
            </p:cNvPr>
            <p:cNvGrpSpPr/>
            <p:nvPr/>
          </p:nvGrpSpPr>
          <p:grpSpPr>
            <a:xfrm>
              <a:off x="5462677" y="4575203"/>
              <a:ext cx="497752" cy="491681"/>
              <a:chOff x="7559440" y="3972390"/>
              <a:chExt cx="497752" cy="491681"/>
            </a:xfrm>
          </p:grpSpPr>
          <p:sp>
            <p:nvSpPr>
              <p:cNvPr id="94" name="Google Shape;40;p2">
                <a:extLst>
                  <a:ext uri="{FF2B5EF4-FFF2-40B4-BE49-F238E27FC236}">
                    <a16:creationId xmlns:a16="http://schemas.microsoft.com/office/drawing/2014/main" id="{E60B4D83-EADD-40A5-8739-074D34190748}"/>
                  </a:ext>
                </a:extLst>
              </p:cNvPr>
              <p:cNvSpPr/>
              <p:nvPr/>
            </p:nvSpPr>
            <p:spPr>
              <a:xfrm rot="1226546">
                <a:off x="7692589" y="4106488"/>
                <a:ext cx="320298" cy="311457"/>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4"/>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5" name="Google Shape;41;p2">
                <a:extLst>
                  <a:ext uri="{FF2B5EF4-FFF2-40B4-BE49-F238E27FC236}">
                    <a16:creationId xmlns:a16="http://schemas.microsoft.com/office/drawing/2014/main" id="{3FF74D61-8F2C-415F-870A-3E26DFE35B47}"/>
                  </a:ext>
                </a:extLst>
              </p:cNvPr>
              <p:cNvSpPr/>
              <p:nvPr/>
            </p:nvSpPr>
            <p:spPr>
              <a:xfrm rot="9911830">
                <a:off x="7595186" y="4010311"/>
                <a:ext cx="338915" cy="323847"/>
              </a:xfrm>
              <a:custGeom>
                <a:avLst/>
                <a:gdLst/>
                <a:ahLst/>
                <a:cxnLst/>
                <a:rect l="l" t="t" r="r" b="b"/>
                <a:pathLst>
                  <a:path w="393594" h="376095" extrusionOk="0">
                    <a:moveTo>
                      <a:pt x="214418" y="305042"/>
                    </a:moveTo>
                    <a:cubicBezTo>
                      <a:pt x="268393" y="256783"/>
                      <a:pt x="326179" y="286627"/>
                      <a:pt x="373168" y="327902"/>
                    </a:cubicBezTo>
                    <a:cubicBezTo>
                      <a:pt x="334433" y="348222"/>
                      <a:pt x="287443" y="358383"/>
                      <a:pt x="242358" y="352667"/>
                    </a:cubicBezTo>
                    <a:cubicBezTo>
                      <a:pt x="242358" y="360922"/>
                      <a:pt x="242358" y="367908"/>
                      <a:pt x="242358" y="374892"/>
                    </a:cubicBezTo>
                    <a:cubicBezTo>
                      <a:pt x="208704" y="387592"/>
                      <a:pt x="190289" y="296152"/>
                      <a:pt x="189654" y="269483"/>
                    </a:cubicBezTo>
                    <a:cubicBezTo>
                      <a:pt x="-846" y="341237"/>
                      <a:pt x="-74507" y="101208"/>
                      <a:pt x="94404" y="17387"/>
                    </a:cubicBezTo>
                    <a:cubicBezTo>
                      <a:pt x="178858" y="4052"/>
                      <a:pt x="289983" y="-24523"/>
                      <a:pt x="357293" y="44058"/>
                    </a:cubicBezTo>
                    <a:cubicBezTo>
                      <a:pt x="419523" y="101208"/>
                      <a:pt x="399839" y="240272"/>
                      <a:pt x="312843" y="258687"/>
                    </a:cubicBezTo>
                    <a:cubicBezTo>
                      <a:pt x="260139" y="256147"/>
                      <a:pt x="199179" y="220587"/>
                      <a:pt x="214418" y="305042"/>
                    </a:cubicBezTo>
                    <a:close/>
                    <a:moveTo>
                      <a:pt x="369993" y="131687"/>
                    </a:moveTo>
                    <a:cubicBezTo>
                      <a:pt x="377614" y="58662"/>
                      <a:pt x="298873" y="-2298"/>
                      <a:pt x="229658" y="22467"/>
                    </a:cubicBezTo>
                    <a:cubicBezTo>
                      <a:pt x="215054" y="28817"/>
                      <a:pt x="199179" y="30722"/>
                      <a:pt x="183304" y="23737"/>
                    </a:cubicBezTo>
                    <a:cubicBezTo>
                      <a:pt x="79164" y="3417"/>
                      <a:pt x="-14182" y="120258"/>
                      <a:pt x="37254" y="217412"/>
                    </a:cubicBezTo>
                    <a:cubicBezTo>
                      <a:pt x="86148" y="318377"/>
                      <a:pt x="176954" y="218047"/>
                      <a:pt x="249979" y="231383"/>
                    </a:cubicBezTo>
                    <a:cubicBezTo>
                      <a:pt x="321098" y="265037"/>
                      <a:pt x="372533" y="203442"/>
                      <a:pt x="369993" y="131687"/>
                    </a:cubicBezTo>
                    <a:close/>
                    <a:moveTo>
                      <a:pt x="329354" y="320283"/>
                    </a:moveTo>
                    <a:cubicBezTo>
                      <a:pt x="316654" y="302502"/>
                      <a:pt x="260773" y="284087"/>
                      <a:pt x="255693" y="313297"/>
                    </a:cubicBezTo>
                    <a:cubicBezTo>
                      <a:pt x="266489" y="313297"/>
                      <a:pt x="288714" y="301233"/>
                      <a:pt x="289348" y="318377"/>
                    </a:cubicBezTo>
                    <a:cubicBezTo>
                      <a:pt x="289348" y="327902"/>
                      <a:pt x="272839" y="324092"/>
                      <a:pt x="275379" y="337427"/>
                    </a:cubicBezTo>
                    <a:cubicBezTo>
                      <a:pt x="293158" y="336158"/>
                      <a:pt x="310304" y="333617"/>
                      <a:pt x="329354" y="3202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27" name="Google Shape;42;p2">
              <a:extLst>
                <a:ext uri="{FF2B5EF4-FFF2-40B4-BE49-F238E27FC236}">
                  <a16:creationId xmlns:a16="http://schemas.microsoft.com/office/drawing/2014/main" id="{7B3E780A-FE52-4930-9014-FFEF28ABA4B9}"/>
                </a:ext>
              </a:extLst>
            </p:cNvPr>
            <p:cNvGrpSpPr/>
            <p:nvPr/>
          </p:nvGrpSpPr>
          <p:grpSpPr>
            <a:xfrm>
              <a:off x="510215" y="271717"/>
              <a:ext cx="557022" cy="619823"/>
              <a:chOff x="510215" y="271717"/>
              <a:chExt cx="557022" cy="619823"/>
            </a:xfrm>
          </p:grpSpPr>
          <p:sp>
            <p:nvSpPr>
              <p:cNvPr id="92" name="Google Shape;43;p2">
                <a:extLst>
                  <a:ext uri="{FF2B5EF4-FFF2-40B4-BE49-F238E27FC236}">
                    <a16:creationId xmlns:a16="http://schemas.microsoft.com/office/drawing/2014/main" id="{DB21A7C0-E34D-4908-8E9B-C1BA461C3D8C}"/>
                  </a:ext>
                </a:extLst>
              </p:cNvPr>
              <p:cNvSpPr/>
              <p:nvPr/>
            </p:nvSpPr>
            <p:spPr>
              <a:xfrm>
                <a:off x="676827" y="376200"/>
                <a:ext cx="316843" cy="32088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93" name="Google Shape;44;p2">
                <a:extLst>
                  <a:ext uri="{FF2B5EF4-FFF2-40B4-BE49-F238E27FC236}">
                    <a16:creationId xmlns:a16="http://schemas.microsoft.com/office/drawing/2014/main" id="{BCE5B0F7-5FDC-4B9D-8BBB-EEDEFB1C0A37}"/>
                  </a:ext>
                </a:extLst>
              </p:cNvPr>
              <p:cNvSpPr/>
              <p:nvPr/>
            </p:nvSpPr>
            <p:spPr>
              <a:xfrm>
                <a:off x="510215" y="271717"/>
                <a:ext cx="557022" cy="619823"/>
              </a:xfrm>
              <a:custGeom>
                <a:avLst/>
                <a:gdLst/>
                <a:ahLst/>
                <a:cxnLst/>
                <a:rect l="l" t="t" r="r" b="b"/>
                <a:pathLst>
                  <a:path w="647700" h="720725" extrusionOk="0">
                    <a:moveTo>
                      <a:pt x="513080" y="323850"/>
                    </a:moveTo>
                    <a:cubicBezTo>
                      <a:pt x="517525" y="130810"/>
                      <a:pt x="228600" y="72390"/>
                      <a:pt x="142240" y="236220"/>
                    </a:cubicBezTo>
                    <a:cubicBezTo>
                      <a:pt x="74930" y="348615"/>
                      <a:pt x="219075" y="481330"/>
                      <a:pt x="144145" y="591820"/>
                    </a:cubicBezTo>
                    <a:cubicBezTo>
                      <a:pt x="140970" y="600710"/>
                      <a:pt x="146685" y="608965"/>
                      <a:pt x="156210" y="609600"/>
                    </a:cubicBezTo>
                    <a:cubicBezTo>
                      <a:pt x="183515" y="603250"/>
                      <a:pt x="471170" y="659130"/>
                      <a:pt x="370205" y="597535"/>
                    </a:cubicBezTo>
                    <a:cubicBezTo>
                      <a:pt x="366395" y="480695"/>
                      <a:pt x="525780" y="439420"/>
                      <a:pt x="513080" y="323850"/>
                    </a:cubicBezTo>
                    <a:close/>
                    <a:moveTo>
                      <a:pt x="249555" y="588010"/>
                    </a:moveTo>
                    <a:cubicBezTo>
                      <a:pt x="230505" y="510540"/>
                      <a:pt x="259080" y="430530"/>
                      <a:pt x="233680" y="354965"/>
                    </a:cubicBezTo>
                    <a:cubicBezTo>
                      <a:pt x="264795" y="384175"/>
                      <a:pt x="260985" y="381635"/>
                      <a:pt x="294640" y="368300"/>
                    </a:cubicBezTo>
                    <a:cubicBezTo>
                      <a:pt x="311785" y="385445"/>
                      <a:pt x="311785" y="385445"/>
                      <a:pt x="334010" y="392430"/>
                    </a:cubicBezTo>
                    <a:cubicBezTo>
                      <a:pt x="320675" y="454660"/>
                      <a:pt x="300355" y="514985"/>
                      <a:pt x="284480" y="576580"/>
                    </a:cubicBezTo>
                    <a:cubicBezTo>
                      <a:pt x="281305" y="594995"/>
                      <a:pt x="267335" y="597535"/>
                      <a:pt x="249555" y="588010"/>
                    </a:cubicBezTo>
                    <a:close/>
                    <a:moveTo>
                      <a:pt x="340360" y="595630"/>
                    </a:moveTo>
                    <a:cubicBezTo>
                      <a:pt x="326390" y="598805"/>
                      <a:pt x="316865" y="598805"/>
                      <a:pt x="306070" y="589280"/>
                    </a:cubicBezTo>
                    <a:cubicBezTo>
                      <a:pt x="324485" y="520065"/>
                      <a:pt x="330200" y="430530"/>
                      <a:pt x="379730" y="377825"/>
                    </a:cubicBezTo>
                    <a:cubicBezTo>
                      <a:pt x="368300" y="346075"/>
                      <a:pt x="354965" y="335915"/>
                      <a:pt x="327025" y="359410"/>
                    </a:cubicBezTo>
                    <a:cubicBezTo>
                      <a:pt x="293370" y="341630"/>
                      <a:pt x="296545" y="333375"/>
                      <a:pt x="266700" y="354330"/>
                    </a:cubicBezTo>
                    <a:cubicBezTo>
                      <a:pt x="259715" y="342900"/>
                      <a:pt x="253365" y="331470"/>
                      <a:pt x="246380" y="320040"/>
                    </a:cubicBezTo>
                    <a:cubicBezTo>
                      <a:pt x="173355" y="307975"/>
                      <a:pt x="207010" y="382905"/>
                      <a:pt x="216535" y="386715"/>
                    </a:cubicBezTo>
                    <a:cubicBezTo>
                      <a:pt x="220345" y="452120"/>
                      <a:pt x="218440" y="519430"/>
                      <a:pt x="220980" y="584835"/>
                    </a:cubicBezTo>
                    <a:cubicBezTo>
                      <a:pt x="203200" y="588645"/>
                      <a:pt x="203200" y="589280"/>
                      <a:pt x="184785" y="581660"/>
                    </a:cubicBezTo>
                    <a:cubicBezTo>
                      <a:pt x="217170" y="478790"/>
                      <a:pt x="132080" y="381635"/>
                      <a:pt x="150495" y="281305"/>
                    </a:cubicBezTo>
                    <a:cubicBezTo>
                      <a:pt x="176530" y="188595"/>
                      <a:pt x="277495" y="156210"/>
                      <a:pt x="364490" y="170180"/>
                    </a:cubicBezTo>
                    <a:cubicBezTo>
                      <a:pt x="437515" y="178435"/>
                      <a:pt x="478155" y="247650"/>
                      <a:pt x="485140" y="314325"/>
                    </a:cubicBezTo>
                    <a:cubicBezTo>
                      <a:pt x="493395" y="430530"/>
                      <a:pt x="337820" y="475615"/>
                      <a:pt x="340360" y="595630"/>
                    </a:cubicBezTo>
                    <a:close/>
                    <a:moveTo>
                      <a:pt x="325755" y="644525"/>
                    </a:moveTo>
                    <a:cubicBezTo>
                      <a:pt x="270510" y="646430"/>
                      <a:pt x="215900" y="626745"/>
                      <a:pt x="161925" y="631190"/>
                    </a:cubicBezTo>
                    <a:cubicBezTo>
                      <a:pt x="137795" y="666750"/>
                      <a:pt x="304165" y="661035"/>
                      <a:pt x="325120" y="671195"/>
                    </a:cubicBezTo>
                    <a:cubicBezTo>
                      <a:pt x="360680" y="675640"/>
                      <a:pt x="353695" y="645160"/>
                      <a:pt x="325755" y="644525"/>
                    </a:cubicBezTo>
                    <a:close/>
                    <a:moveTo>
                      <a:pt x="176530" y="681990"/>
                    </a:moveTo>
                    <a:cubicBezTo>
                      <a:pt x="167005" y="729615"/>
                      <a:pt x="273050" y="708025"/>
                      <a:pt x="304165" y="720725"/>
                    </a:cubicBezTo>
                    <a:cubicBezTo>
                      <a:pt x="378460" y="691515"/>
                      <a:pt x="199390" y="686435"/>
                      <a:pt x="176530" y="681990"/>
                    </a:cubicBezTo>
                    <a:close/>
                    <a:moveTo>
                      <a:pt x="555625" y="214630"/>
                    </a:moveTo>
                    <a:cubicBezTo>
                      <a:pt x="588010" y="198755"/>
                      <a:pt x="614045" y="179705"/>
                      <a:pt x="647700" y="162560"/>
                    </a:cubicBezTo>
                    <a:cubicBezTo>
                      <a:pt x="629285" y="140335"/>
                      <a:pt x="513080" y="196850"/>
                      <a:pt x="555625" y="214630"/>
                    </a:cubicBezTo>
                    <a:close/>
                    <a:moveTo>
                      <a:pt x="0" y="465455"/>
                    </a:moveTo>
                    <a:cubicBezTo>
                      <a:pt x="14605" y="500380"/>
                      <a:pt x="64135" y="459105"/>
                      <a:pt x="78105" y="439420"/>
                    </a:cubicBezTo>
                    <a:cubicBezTo>
                      <a:pt x="49530" y="413385"/>
                      <a:pt x="29210" y="454660"/>
                      <a:pt x="0" y="465455"/>
                    </a:cubicBezTo>
                    <a:close/>
                    <a:moveTo>
                      <a:pt x="30480" y="86360"/>
                    </a:moveTo>
                    <a:cubicBezTo>
                      <a:pt x="35560" y="98425"/>
                      <a:pt x="99060" y="177800"/>
                      <a:pt x="105410" y="149860"/>
                    </a:cubicBezTo>
                    <a:cubicBezTo>
                      <a:pt x="90170" y="130175"/>
                      <a:pt x="60325" y="67945"/>
                      <a:pt x="30480" y="86360"/>
                    </a:cubicBezTo>
                    <a:close/>
                    <a:moveTo>
                      <a:pt x="351790" y="76200"/>
                    </a:moveTo>
                    <a:cubicBezTo>
                      <a:pt x="374015" y="69215"/>
                      <a:pt x="363220" y="30480"/>
                      <a:pt x="369570" y="11430"/>
                    </a:cubicBezTo>
                    <a:cubicBezTo>
                      <a:pt x="370205" y="5080"/>
                      <a:pt x="364490" y="0"/>
                      <a:pt x="357505" y="0"/>
                    </a:cubicBezTo>
                    <a:cubicBezTo>
                      <a:pt x="335915" y="635"/>
                      <a:pt x="345440" y="30480"/>
                      <a:pt x="342265" y="45085"/>
                    </a:cubicBezTo>
                    <a:cubicBezTo>
                      <a:pt x="342265" y="45085"/>
                      <a:pt x="342265" y="45085"/>
                      <a:pt x="342900" y="45085"/>
                    </a:cubicBezTo>
                    <a:cubicBezTo>
                      <a:pt x="342265" y="55245"/>
                      <a:pt x="336550" y="75565"/>
                      <a:pt x="351790" y="76200"/>
                    </a:cubicBezTo>
                    <a:close/>
                    <a:moveTo>
                      <a:pt x="519430" y="487045"/>
                    </a:moveTo>
                    <a:cubicBezTo>
                      <a:pt x="540385" y="495935"/>
                      <a:pt x="566420" y="540385"/>
                      <a:pt x="589280" y="520700"/>
                    </a:cubicBezTo>
                    <a:cubicBezTo>
                      <a:pt x="585470" y="502920"/>
                      <a:pt x="500380" y="438785"/>
                      <a:pt x="519430" y="48704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28" name="Google Shape;45;p2">
              <a:extLst>
                <a:ext uri="{FF2B5EF4-FFF2-40B4-BE49-F238E27FC236}">
                  <a16:creationId xmlns:a16="http://schemas.microsoft.com/office/drawing/2014/main" id="{88E0BC4D-444B-4D02-A994-34ED22CEAF8E}"/>
                </a:ext>
              </a:extLst>
            </p:cNvPr>
            <p:cNvSpPr/>
            <p:nvPr/>
          </p:nvSpPr>
          <p:spPr>
            <a:xfrm>
              <a:off x="1778886" y="4237081"/>
              <a:ext cx="556337" cy="631409"/>
            </a:xfrm>
            <a:custGeom>
              <a:avLst/>
              <a:gdLst/>
              <a:ahLst/>
              <a:cxnLst/>
              <a:rect l="l" t="t" r="r" b="b"/>
              <a:pathLst>
                <a:path w="646904" h="734197" extrusionOk="0">
                  <a:moveTo>
                    <a:pt x="624840" y="487872"/>
                  </a:moveTo>
                  <a:cubicBezTo>
                    <a:pt x="596265" y="353252"/>
                    <a:pt x="540386" y="227522"/>
                    <a:pt x="497840" y="97347"/>
                  </a:cubicBezTo>
                  <a:cubicBezTo>
                    <a:pt x="482600" y="59247"/>
                    <a:pt x="474345" y="-1078"/>
                    <a:pt x="420370" y="28132"/>
                  </a:cubicBezTo>
                  <a:cubicBezTo>
                    <a:pt x="389255" y="44007"/>
                    <a:pt x="387986" y="-11238"/>
                    <a:pt x="354330" y="2097"/>
                  </a:cubicBezTo>
                  <a:cubicBezTo>
                    <a:pt x="234315" y="31307"/>
                    <a:pt x="104775" y="90362"/>
                    <a:pt x="0" y="151322"/>
                  </a:cubicBezTo>
                  <a:cubicBezTo>
                    <a:pt x="163195" y="779972"/>
                    <a:pt x="226061" y="866332"/>
                    <a:pt x="21590" y="162117"/>
                  </a:cubicBezTo>
                  <a:cubicBezTo>
                    <a:pt x="130811" y="105602"/>
                    <a:pt x="241300" y="40832"/>
                    <a:pt x="364490" y="23687"/>
                  </a:cubicBezTo>
                  <a:cubicBezTo>
                    <a:pt x="395605" y="56707"/>
                    <a:pt x="396240" y="56072"/>
                    <a:pt x="402590" y="79567"/>
                  </a:cubicBezTo>
                  <a:cubicBezTo>
                    <a:pt x="463550" y="226252"/>
                    <a:pt x="509905" y="375477"/>
                    <a:pt x="556261" y="526607"/>
                  </a:cubicBezTo>
                  <a:cubicBezTo>
                    <a:pt x="426086" y="593917"/>
                    <a:pt x="282575" y="667577"/>
                    <a:pt x="134620" y="680912"/>
                  </a:cubicBezTo>
                  <a:cubicBezTo>
                    <a:pt x="128270" y="680912"/>
                    <a:pt x="125095" y="689167"/>
                    <a:pt x="130175" y="693612"/>
                  </a:cubicBezTo>
                  <a:cubicBezTo>
                    <a:pt x="151765" y="709487"/>
                    <a:pt x="182245" y="690437"/>
                    <a:pt x="204470" y="688532"/>
                  </a:cubicBezTo>
                  <a:cubicBezTo>
                    <a:pt x="226061" y="700597"/>
                    <a:pt x="211455" y="728537"/>
                    <a:pt x="238125" y="732982"/>
                  </a:cubicBezTo>
                  <a:cubicBezTo>
                    <a:pt x="331470" y="744412"/>
                    <a:pt x="414655" y="672022"/>
                    <a:pt x="503555" y="649162"/>
                  </a:cubicBezTo>
                  <a:cubicBezTo>
                    <a:pt x="545465" y="633922"/>
                    <a:pt x="589280" y="623762"/>
                    <a:pt x="627380" y="599632"/>
                  </a:cubicBezTo>
                  <a:cubicBezTo>
                    <a:pt x="671830" y="579312"/>
                    <a:pt x="626745" y="524067"/>
                    <a:pt x="624840" y="487872"/>
                  </a:cubicBezTo>
                  <a:close/>
                  <a:moveTo>
                    <a:pt x="504825" y="628842"/>
                  </a:moveTo>
                  <a:cubicBezTo>
                    <a:pt x="418465" y="663132"/>
                    <a:pt x="337186" y="702502"/>
                    <a:pt x="245745" y="724092"/>
                  </a:cubicBezTo>
                  <a:cubicBezTo>
                    <a:pt x="241936" y="710122"/>
                    <a:pt x="238761" y="698057"/>
                    <a:pt x="234950" y="684087"/>
                  </a:cubicBezTo>
                  <a:cubicBezTo>
                    <a:pt x="339725" y="641542"/>
                    <a:pt x="449580" y="602172"/>
                    <a:pt x="553086" y="554547"/>
                  </a:cubicBezTo>
                  <a:cubicBezTo>
                    <a:pt x="556261" y="557087"/>
                    <a:pt x="591820" y="542482"/>
                    <a:pt x="588645" y="522797"/>
                  </a:cubicBezTo>
                  <a:cubicBezTo>
                    <a:pt x="537211" y="472632"/>
                    <a:pt x="544830" y="386907"/>
                    <a:pt x="516255" y="324677"/>
                  </a:cubicBezTo>
                  <a:cubicBezTo>
                    <a:pt x="488315" y="235142"/>
                    <a:pt x="447040" y="152592"/>
                    <a:pt x="418465" y="62422"/>
                  </a:cubicBezTo>
                  <a:cubicBezTo>
                    <a:pt x="469900" y="-53148"/>
                    <a:pt x="604520" y="513272"/>
                    <a:pt x="619761" y="552642"/>
                  </a:cubicBezTo>
                  <a:cubicBezTo>
                    <a:pt x="631825" y="607887"/>
                    <a:pt x="539750" y="607887"/>
                    <a:pt x="504825" y="628842"/>
                  </a:cubicBezTo>
                  <a:close/>
                  <a:moveTo>
                    <a:pt x="180975" y="522162"/>
                  </a:moveTo>
                  <a:cubicBezTo>
                    <a:pt x="182880" y="565977"/>
                    <a:pt x="377825" y="458027"/>
                    <a:pt x="415925" y="453582"/>
                  </a:cubicBezTo>
                  <a:cubicBezTo>
                    <a:pt x="636270" y="342457"/>
                    <a:pt x="215265" y="507557"/>
                    <a:pt x="180975" y="522162"/>
                  </a:cubicBezTo>
                  <a:close/>
                  <a:moveTo>
                    <a:pt x="90170" y="144972"/>
                  </a:moveTo>
                  <a:cubicBezTo>
                    <a:pt x="73661" y="159577"/>
                    <a:pt x="67945" y="299277"/>
                    <a:pt x="104140" y="277687"/>
                  </a:cubicBezTo>
                  <a:cubicBezTo>
                    <a:pt x="104775" y="271337"/>
                    <a:pt x="105411" y="264987"/>
                    <a:pt x="106045" y="258637"/>
                  </a:cubicBezTo>
                  <a:cubicBezTo>
                    <a:pt x="122555" y="253557"/>
                    <a:pt x="137795" y="248477"/>
                    <a:pt x="151765" y="244032"/>
                  </a:cubicBezTo>
                  <a:cubicBezTo>
                    <a:pt x="161290" y="252287"/>
                    <a:pt x="167640" y="270702"/>
                    <a:pt x="180975" y="258637"/>
                  </a:cubicBezTo>
                  <a:cubicBezTo>
                    <a:pt x="158115" y="219902"/>
                    <a:pt x="127000" y="169102"/>
                    <a:pt x="90170" y="144972"/>
                  </a:cubicBezTo>
                  <a:close/>
                  <a:moveTo>
                    <a:pt x="137161" y="222442"/>
                  </a:moveTo>
                  <a:cubicBezTo>
                    <a:pt x="128905" y="233872"/>
                    <a:pt x="118745" y="235777"/>
                    <a:pt x="105411" y="233872"/>
                  </a:cubicBezTo>
                  <a:cubicBezTo>
                    <a:pt x="100965" y="218632"/>
                    <a:pt x="99061" y="204662"/>
                    <a:pt x="104140" y="188152"/>
                  </a:cubicBezTo>
                  <a:cubicBezTo>
                    <a:pt x="121286" y="195137"/>
                    <a:pt x="127636" y="209742"/>
                    <a:pt x="137161" y="222442"/>
                  </a:cubicBezTo>
                  <a:close/>
                  <a:moveTo>
                    <a:pt x="400050" y="245937"/>
                  </a:moveTo>
                  <a:cubicBezTo>
                    <a:pt x="407670" y="200852"/>
                    <a:pt x="140336" y="324677"/>
                    <a:pt x="111761" y="337377"/>
                  </a:cubicBezTo>
                  <a:cubicBezTo>
                    <a:pt x="191136" y="350712"/>
                    <a:pt x="314325" y="265622"/>
                    <a:pt x="400050" y="245937"/>
                  </a:cubicBezTo>
                  <a:close/>
                  <a:moveTo>
                    <a:pt x="462915" y="478347"/>
                  </a:moveTo>
                  <a:cubicBezTo>
                    <a:pt x="382905" y="475807"/>
                    <a:pt x="304165" y="539942"/>
                    <a:pt x="224155" y="558357"/>
                  </a:cubicBezTo>
                  <a:cubicBezTo>
                    <a:pt x="88900" y="640907"/>
                    <a:pt x="455930" y="496127"/>
                    <a:pt x="462915" y="478347"/>
                  </a:cubicBezTo>
                  <a:close/>
                  <a:moveTo>
                    <a:pt x="168275" y="373572"/>
                  </a:moveTo>
                  <a:cubicBezTo>
                    <a:pt x="155575" y="376747"/>
                    <a:pt x="143511" y="387542"/>
                    <a:pt x="154940" y="399607"/>
                  </a:cubicBezTo>
                  <a:cubicBezTo>
                    <a:pt x="441325" y="299277"/>
                    <a:pt x="540386" y="220537"/>
                    <a:pt x="168275" y="373572"/>
                  </a:cubicBezTo>
                  <a:close/>
                  <a:moveTo>
                    <a:pt x="262890" y="426912"/>
                  </a:moveTo>
                  <a:cubicBezTo>
                    <a:pt x="226695" y="428817"/>
                    <a:pt x="195580" y="449772"/>
                    <a:pt x="158750" y="459297"/>
                  </a:cubicBezTo>
                  <a:cubicBezTo>
                    <a:pt x="159386" y="473902"/>
                    <a:pt x="169545" y="479617"/>
                    <a:pt x="182245" y="473902"/>
                  </a:cubicBezTo>
                  <a:cubicBezTo>
                    <a:pt x="198120" y="463742"/>
                    <a:pt x="290830" y="451042"/>
                    <a:pt x="262890" y="426912"/>
                  </a:cubicBezTo>
                  <a:close/>
                  <a:moveTo>
                    <a:pt x="179070" y="182437"/>
                  </a:moveTo>
                  <a:cubicBezTo>
                    <a:pt x="177165" y="163387"/>
                    <a:pt x="179705" y="157672"/>
                    <a:pt x="190500" y="141797"/>
                  </a:cubicBezTo>
                  <a:cubicBezTo>
                    <a:pt x="161290" y="150687"/>
                    <a:pt x="162561" y="113857"/>
                    <a:pt x="143511" y="124017"/>
                  </a:cubicBezTo>
                  <a:cubicBezTo>
                    <a:pt x="144145" y="146877"/>
                    <a:pt x="144145" y="146877"/>
                    <a:pt x="137161" y="163387"/>
                  </a:cubicBezTo>
                  <a:cubicBezTo>
                    <a:pt x="150495" y="169102"/>
                    <a:pt x="163195" y="175452"/>
                    <a:pt x="179070" y="182437"/>
                  </a:cubicBezTo>
                  <a:close/>
                  <a:moveTo>
                    <a:pt x="372111" y="153227"/>
                  </a:moveTo>
                  <a:cubicBezTo>
                    <a:pt x="307340" y="148147"/>
                    <a:pt x="240665" y="219902"/>
                    <a:pt x="346711" y="174817"/>
                  </a:cubicBezTo>
                  <a:cubicBezTo>
                    <a:pt x="358775" y="169737"/>
                    <a:pt x="368936" y="169737"/>
                    <a:pt x="372111" y="153227"/>
                  </a:cubicBezTo>
                  <a:close/>
                  <a:moveTo>
                    <a:pt x="304800" y="228792"/>
                  </a:moveTo>
                  <a:cubicBezTo>
                    <a:pt x="324486" y="222442"/>
                    <a:pt x="358775" y="224347"/>
                    <a:pt x="360045" y="197042"/>
                  </a:cubicBezTo>
                  <a:cubicBezTo>
                    <a:pt x="343536" y="202757"/>
                    <a:pt x="276861" y="207837"/>
                    <a:pt x="304800" y="2287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29" name="Google Shape;46;p2">
              <a:extLst>
                <a:ext uri="{FF2B5EF4-FFF2-40B4-BE49-F238E27FC236}">
                  <a16:creationId xmlns:a16="http://schemas.microsoft.com/office/drawing/2014/main" id="{795A7F5F-5BB4-4E59-8D97-0332F453E9D8}"/>
                </a:ext>
              </a:extLst>
            </p:cNvPr>
            <p:cNvSpPr/>
            <p:nvPr/>
          </p:nvSpPr>
          <p:spPr>
            <a:xfrm rot="-982808">
              <a:off x="7867083" y="4603094"/>
              <a:ext cx="701993" cy="567693"/>
            </a:xfrm>
            <a:custGeom>
              <a:avLst/>
              <a:gdLst/>
              <a:ahLst/>
              <a:cxnLst/>
              <a:rect l="l" t="t" r="r" b="b"/>
              <a:pathLst>
                <a:path w="816364" h="660184" extrusionOk="0">
                  <a:moveTo>
                    <a:pt x="816263" y="506476"/>
                  </a:moveTo>
                  <a:cubicBezTo>
                    <a:pt x="711488" y="-86613"/>
                    <a:pt x="921672" y="-14858"/>
                    <a:pt x="306357" y="27051"/>
                  </a:cubicBezTo>
                  <a:cubicBezTo>
                    <a:pt x="279052" y="-13588"/>
                    <a:pt x="225077" y="19432"/>
                    <a:pt x="186342" y="20701"/>
                  </a:cubicBezTo>
                  <a:cubicBezTo>
                    <a:pt x="182532" y="28957"/>
                    <a:pt x="179357" y="35942"/>
                    <a:pt x="174912" y="45467"/>
                  </a:cubicBezTo>
                  <a:cubicBezTo>
                    <a:pt x="147607" y="9907"/>
                    <a:pt x="110142" y="29592"/>
                    <a:pt x="73312" y="35307"/>
                  </a:cubicBezTo>
                  <a:cubicBezTo>
                    <a:pt x="70137" y="42292"/>
                    <a:pt x="67597" y="48007"/>
                    <a:pt x="65057" y="54357"/>
                  </a:cubicBezTo>
                  <a:cubicBezTo>
                    <a:pt x="7272" y="56897"/>
                    <a:pt x="-8603" y="109601"/>
                    <a:pt x="4097" y="159132"/>
                  </a:cubicBezTo>
                  <a:cubicBezTo>
                    <a:pt x="10447" y="316612"/>
                    <a:pt x="42832" y="472822"/>
                    <a:pt x="51722" y="630301"/>
                  </a:cubicBezTo>
                  <a:cubicBezTo>
                    <a:pt x="86647" y="676657"/>
                    <a:pt x="126652" y="659512"/>
                    <a:pt x="171737" y="642367"/>
                  </a:cubicBezTo>
                  <a:cubicBezTo>
                    <a:pt x="243492" y="636017"/>
                    <a:pt x="313977" y="620142"/>
                    <a:pt x="385732" y="615062"/>
                  </a:cubicBezTo>
                  <a:cubicBezTo>
                    <a:pt x="477172" y="610617"/>
                    <a:pt x="567342" y="594742"/>
                    <a:pt x="657513" y="588392"/>
                  </a:cubicBezTo>
                  <a:cubicBezTo>
                    <a:pt x="715933" y="571247"/>
                    <a:pt x="820072" y="597282"/>
                    <a:pt x="816263" y="506476"/>
                  </a:cubicBezTo>
                  <a:close/>
                  <a:moveTo>
                    <a:pt x="761652" y="549022"/>
                  </a:moveTo>
                  <a:cubicBezTo>
                    <a:pt x="573692" y="583947"/>
                    <a:pt x="382557" y="591567"/>
                    <a:pt x="193962" y="618872"/>
                  </a:cubicBezTo>
                  <a:cubicBezTo>
                    <a:pt x="156497" y="613792"/>
                    <a:pt x="82202" y="665226"/>
                    <a:pt x="73312" y="606172"/>
                  </a:cubicBezTo>
                  <a:cubicBezTo>
                    <a:pt x="59977" y="492507"/>
                    <a:pt x="45372" y="378842"/>
                    <a:pt x="32037" y="265176"/>
                  </a:cubicBezTo>
                  <a:cubicBezTo>
                    <a:pt x="36482" y="210567"/>
                    <a:pt x="-8603" y="112142"/>
                    <a:pt x="52357" y="82297"/>
                  </a:cubicBezTo>
                  <a:cubicBezTo>
                    <a:pt x="189517" y="63247"/>
                    <a:pt x="327312" y="41022"/>
                    <a:pt x="466377" y="38482"/>
                  </a:cubicBezTo>
                  <a:cubicBezTo>
                    <a:pt x="769272" y="14351"/>
                    <a:pt x="740697" y="-41528"/>
                    <a:pt x="764192" y="281687"/>
                  </a:cubicBezTo>
                  <a:cubicBezTo>
                    <a:pt x="755302" y="281051"/>
                    <a:pt x="757842" y="274067"/>
                    <a:pt x="755302" y="270257"/>
                  </a:cubicBezTo>
                  <a:cubicBezTo>
                    <a:pt x="741967" y="249301"/>
                    <a:pt x="721647" y="263272"/>
                    <a:pt x="709583" y="277242"/>
                  </a:cubicBezTo>
                  <a:cubicBezTo>
                    <a:pt x="686088" y="242317"/>
                    <a:pt x="697517" y="60707"/>
                    <a:pt x="653702" y="63882"/>
                  </a:cubicBezTo>
                  <a:cubicBezTo>
                    <a:pt x="461297" y="91187"/>
                    <a:pt x="268257" y="108967"/>
                    <a:pt x="75217" y="126747"/>
                  </a:cubicBezTo>
                  <a:cubicBezTo>
                    <a:pt x="87917" y="245492"/>
                    <a:pt x="110777" y="356617"/>
                    <a:pt x="119667" y="474726"/>
                  </a:cubicBezTo>
                  <a:cubicBezTo>
                    <a:pt x="127287" y="501397"/>
                    <a:pt x="109507" y="568072"/>
                    <a:pt x="150782" y="565532"/>
                  </a:cubicBezTo>
                  <a:cubicBezTo>
                    <a:pt x="333027" y="540767"/>
                    <a:pt x="519717" y="557276"/>
                    <a:pt x="700058" y="507112"/>
                  </a:cubicBezTo>
                  <a:cubicBezTo>
                    <a:pt x="759747" y="495047"/>
                    <a:pt x="701327" y="358522"/>
                    <a:pt x="705138" y="312167"/>
                  </a:cubicBezTo>
                  <a:cubicBezTo>
                    <a:pt x="729267" y="306451"/>
                    <a:pt x="721647" y="345187"/>
                    <a:pt x="761652" y="308357"/>
                  </a:cubicBezTo>
                  <a:cubicBezTo>
                    <a:pt x="775622" y="349632"/>
                    <a:pt x="820072" y="536957"/>
                    <a:pt x="761652" y="549022"/>
                  </a:cubicBezTo>
                  <a:close/>
                  <a:moveTo>
                    <a:pt x="700692" y="478537"/>
                  </a:moveTo>
                  <a:cubicBezTo>
                    <a:pt x="522892" y="538862"/>
                    <a:pt x="337472" y="526162"/>
                    <a:pt x="152687" y="542037"/>
                  </a:cubicBezTo>
                  <a:cubicBezTo>
                    <a:pt x="130462" y="412497"/>
                    <a:pt x="112682" y="276607"/>
                    <a:pt x="102522" y="144526"/>
                  </a:cubicBezTo>
                  <a:cubicBezTo>
                    <a:pt x="282227" y="127382"/>
                    <a:pt x="467012" y="96901"/>
                    <a:pt x="647988" y="93726"/>
                  </a:cubicBezTo>
                  <a:cubicBezTo>
                    <a:pt x="682913" y="218187"/>
                    <a:pt x="694342" y="348997"/>
                    <a:pt x="700692" y="478537"/>
                  </a:cubicBezTo>
                  <a:close/>
                  <a:moveTo>
                    <a:pt x="502572" y="293751"/>
                  </a:moveTo>
                  <a:cubicBezTo>
                    <a:pt x="436532" y="277876"/>
                    <a:pt x="374937" y="230251"/>
                    <a:pt x="307627" y="228982"/>
                  </a:cubicBezTo>
                  <a:cubicBezTo>
                    <a:pt x="338107" y="506476"/>
                    <a:pt x="291752" y="420117"/>
                    <a:pt x="515907" y="325501"/>
                  </a:cubicBezTo>
                  <a:cubicBezTo>
                    <a:pt x="562263" y="307722"/>
                    <a:pt x="538132" y="292482"/>
                    <a:pt x="502572" y="293751"/>
                  </a:cubicBezTo>
                  <a:close/>
                  <a:moveTo>
                    <a:pt x="352077" y="378207"/>
                  </a:moveTo>
                  <a:cubicBezTo>
                    <a:pt x="345727" y="360426"/>
                    <a:pt x="329217" y="301372"/>
                    <a:pt x="334297" y="258192"/>
                  </a:cubicBezTo>
                  <a:cubicBezTo>
                    <a:pt x="382557" y="262637"/>
                    <a:pt x="445422" y="296292"/>
                    <a:pt x="497492" y="306451"/>
                  </a:cubicBezTo>
                  <a:cubicBezTo>
                    <a:pt x="467012" y="341376"/>
                    <a:pt x="396527" y="363601"/>
                    <a:pt x="352077" y="37820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0" name="Google Shape;47;p2">
              <a:extLst>
                <a:ext uri="{FF2B5EF4-FFF2-40B4-BE49-F238E27FC236}">
                  <a16:creationId xmlns:a16="http://schemas.microsoft.com/office/drawing/2014/main" id="{C5E1B8C9-851C-4F75-B9DD-82A1506E00E8}"/>
                </a:ext>
              </a:extLst>
            </p:cNvPr>
            <p:cNvSpPr/>
            <p:nvPr/>
          </p:nvSpPr>
          <p:spPr>
            <a:xfrm rot="1185294">
              <a:off x="4798350" y="3885963"/>
              <a:ext cx="616477" cy="671778"/>
            </a:xfrm>
            <a:custGeom>
              <a:avLst/>
              <a:gdLst/>
              <a:ahLst/>
              <a:cxnLst/>
              <a:rect l="l" t="t" r="r" b="b"/>
              <a:pathLst>
                <a:path w="718509" h="782962" extrusionOk="0">
                  <a:moveTo>
                    <a:pt x="707390" y="178442"/>
                  </a:moveTo>
                  <a:cubicBezTo>
                    <a:pt x="705485" y="163837"/>
                    <a:pt x="700405" y="154947"/>
                    <a:pt x="683895" y="153042"/>
                  </a:cubicBezTo>
                  <a:cubicBezTo>
                    <a:pt x="685800" y="135897"/>
                    <a:pt x="673100" y="127642"/>
                    <a:pt x="665480" y="114942"/>
                  </a:cubicBezTo>
                  <a:cubicBezTo>
                    <a:pt x="664845" y="85097"/>
                    <a:pt x="638810" y="88907"/>
                    <a:pt x="618490" y="95257"/>
                  </a:cubicBezTo>
                  <a:cubicBezTo>
                    <a:pt x="595630" y="74302"/>
                    <a:pt x="582295" y="68587"/>
                    <a:pt x="555625" y="88272"/>
                  </a:cubicBezTo>
                  <a:cubicBezTo>
                    <a:pt x="523875" y="100972"/>
                    <a:pt x="523240" y="30487"/>
                    <a:pt x="488315" y="60332"/>
                  </a:cubicBezTo>
                  <a:cubicBezTo>
                    <a:pt x="445135" y="96527"/>
                    <a:pt x="462915" y="-3803"/>
                    <a:pt x="385445" y="42552"/>
                  </a:cubicBezTo>
                  <a:cubicBezTo>
                    <a:pt x="359410" y="-34918"/>
                    <a:pt x="319405" y="13977"/>
                    <a:pt x="274320" y="29852"/>
                  </a:cubicBezTo>
                  <a:cubicBezTo>
                    <a:pt x="182245" y="239402"/>
                    <a:pt x="65405" y="447047"/>
                    <a:pt x="0" y="662312"/>
                  </a:cubicBezTo>
                  <a:cubicBezTo>
                    <a:pt x="161925" y="678822"/>
                    <a:pt x="313055" y="747402"/>
                    <a:pt x="471170" y="782962"/>
                  </a:cubicBezTo>
                  <a:cubicBezTo>
                    <a:pt x="532130" y="658502"/>
                    <a:pt x="575310" y="535947"/>
                    <a:pt x="636905" y="413392"/>
                  </a:cubicBezTo>
                  <a:cubicBezTo>
                    <a:pt x="664210" y="349892"/>
                    <a:pt x="688975" y="285757"/>
                    <a:pt x="714375" y="221622"/>
                  </a:cubicBezTo>
                  <a:cubicBezTo>
                    <a:pt x="718185" y="205747"/>
                    <a:pt x="723900" y="190507"/>
                    <a:pt x="707390" y="178442"/>
                  </a:cubicBezTo>
                  <a:close/>
                  <a:moveTo>
                    <a:pt x="655955" y="152407"/>
                  </a:moveTo>
                  <a:cubicBezTo>
                    <a:pt x="652780" y="161297"/>
                    <a:pt x="650240" y="170187"/>
                    <a:pt x="646430" y="180347"/>
                  </a:cubicBezTo>
                  <a:cubicBezTo>
                    <a:pt x="604520" y="162567"/>
                    <a:pt x="608330" y="116847"/>
                    <a:pt x="655955" y="152407"/>
                  </a:cubicBezTo>
                  <a:close/>
                  <a:moveTo>
                    <a:pt x="561975" y="127642"/>
                  </a:moveTo>
                  <a:cubicBezTo>
                    <a:pt x="572770" y="118117"/>
                    <a:pt x="577850" y="125737"/>
                    <a:pt x="590550" y="133992"/>
                  </a:cubicBezTo>
                  <a:cubicBezTo>
                    <a:pt x="576580" y="138437"/>
                    <a:pt x="558800" y="146057"/>
                    <a:pt x="561975" y="127642"/>
                  </a:cubicBezTo>
                  <a:close/>
                  <a:moveTo>
                    <a:pt x="353695" y="33027"/>
                  </a:moveTo>
                  <a:cubicBezTo>
                    <a:pt x="351155" y="47632"/>
                    <a:pt x="334010" y="34297"/>
                    <a:pt x="323215" y="31757"/>
                  </a:cubicBezTo>
                  <a:cubicBezTo>
                    <a:pt x="334010" y="17152"/>
                    <a:pt x="350520" y="17787"/>
                    <a:pt x="353695" y="33027"/>
                  </a:cubicBezTo>
                  <a:close/>
                  <a:moveTo>
                    <a:pt x="43180" y="618497"/>
                  </a:moveTo>
                  <a:cubicBezTo>
                    <a:pt x="46990" y="609607"/>
                    <a:pt x="54610" y="612147"/>
                    <a:pt x="59055" y="613417"/>
                  </a:cubicBezTo>
                  <a:cubicBezTo>
                    <a:pt x="99060" y="635642"/>
                    <a:pt x="160020" y="625482"/>
                    <a:pt x="189865" y="659137"/>
                  </a:cubicBezTo>
                  <a:cubicBezTo>
                    <a:pt x="140970" y="652152"/>
                    <a:pt x="87630" y="638817"/>
                    <a:pt x="43180" y="618497"/>
                  </a:cubicBezTo>
                  <a:close/>
                  <a:moveTo>
                    <a:pt x="201295" y="663582"/>
                  </a:moveTo>
                  <a:cubicBezTo>
                    <a:pt x="198755" y="662312"/>
                    <a:pt x="196215" y="661677"/>
                    <a:pt x="193675" y="660407"/>
                  </a:cubicBezTo>
                  <a:cubicBezTo>
                    <a:pt x="196215" y="660407"/>
                    <a:pt x="199390" y="659772"/>
                    <a:pt x="201930" y="659772"/>
                  </a:cubicBezTo>
                  <a:cubicBezTo>
                    <a:pt x="201295" y="661042"/>
                    <a:pt x="201295" y="662312"/>
                    <a:pt x="201295" y="663582"/>
                  </a:cubicBezTo>
                  <a:close/>
                  <a:moveTo>
                    <a:pt x="228600" y="667392"/>
                  </a:moveTo>
                  <a:cubicBezTo>
                    <a:pt x="246380" y="662312"/>
                    <a:pt x="262255" y="666122"/>
                    <a:pt x="276860" y="680727"/>
                  </a:cubicBezTo>
                  <a:cubicBezTo>
                    <a:pt x="256540" y="687077"/>
                    <a:pt x="242570" y="678822"/>
                    <a:pt x="228600" y="667392"/>
                  </a:cubicBezTo>
                  <a:close/>
                  <a:moveTo>
                    <a:pt x="434975" y="704222"/>
                  </a:moveTo>
                  <a:cubicBezTo>
                    <a:pt x="306070" y="664852"/>
                    <a:pt x="177800" y="628657"/>
                    <a:pt x="47625" y="588652"/>
                  </a:cubicBezTo>
                  <a:cubicBezTo>
                    <a:pt x="114935" y="409582"/>
                    <a:pt x="198120" y="233052"/>
                    <a:pt x="284480" y="61602"/>
                  </a:cubicBezTo>
                  <a:cubicBezTo>
                    <a:pt x="314960" y="97162"/>
                    <a:pt x="369570" y="94622"/>
                    <a:pt x="323215" y="62872"/>
                  </a:cubicBezTo>
                  <a:cubicBezTo>
                    <a:pt x="340995" y="59697"/>
                    <a:pt x="354330" y="64777"/>
                    <a:pt x="369570" y="70492"/>
                  </a:cubicBezTo>
                  <a:cubicBezTo>
                    <a:pt x="377825" y="143517"/>
                    <a:pt x="474980" y="111132"/>
                    <a:pt x="398145" y="86367"/>
                  </a:cubicBezTo>
                  <a:cubicBezTo>
                    <a:pt x="411480" y="67952"/>
                    <a:pt x="439420" y="83827"/>
                    <a:pt x="457200" y="89542"/>
                  </a:cubicBezTo>
                  <a:cubicBezTo>
                    <a:pt x="461010" y="179712"/>
                    <a:pt x="532130" y="156852"/>
                    <a:pt x="506095" y="131452"/>
                  </a:cubicBezTo>
                  <a:cubicBezTo>
                    <a:pt x="485140" y="128912"/>
                    <a:pt x="480695" y="129547"/>
                    <a:pt x="483870" y="104147"/>
                  </a:cubicBezTo>
                  <a:cubicBezTo>
                    <a:pt x="501650" y="101607"/>
                    <a:pt x="518795" y="107957"/>
                    <a:pt x="536575" y="110497"/>
                  </a:cubicBezTo>
                  <a:cubicBezTo>
                    <a:pt x="542290" y="147327"/>
                    <a:pt x="556260" y="169552"/>
                    <a:pt x="595630" y="161932"/>
                  </a:cubicBezTo>
                  <a:cubicBezTo>
                    <a:pt x="610235" y="174632"/>
                    <a:pt x="624205" y="186697"/>
                    <a:pt x="638810" y="199397"/>
                  </a:cubicBezTo>
                  <a:cubicBezTo>
                    <a:pt x="590550" y="376562"/>
                    <a:pt x="498475" y="533407"/>
                    <a:pt x="434975" y="704222"/>
                  </a:cubicBezTo>
                  <a:close/>
                  <a:moveTo>
                    <a:pt x="560705" y="508642"/>
                  </a:moveTo>
                  <a:cubicBezTo>
                    <a:pt x="560705" y="508642"/>
                    <a:pt x="560705" y="508007"/>
                    <a:pt x="560705" y="508642"/>
                  </a:cubicBezTo>
                  <a:cubicBezTo>
                    <a:pt x="561340" y="509277"/>
                    <a:pt x="561975" y="509912"/>
                    <a:pt x="562610" y="509912"/>
                  </a:cubicBezTo>
                  <a:cubicBezTo>
                    <a:pt x="561975" y="509277"/>
                    <a:pt x="561340" y="509277"/>
                    <a:pt x="560705" y="508642"/>
                  </a:cubicBezTo>
                  <a:close/>
                  <a:moveTo>
                    <a:pt x="602615" y="438792"/>
                  </a:moveTo>
                  <a:cubicBezTo>
                    <a:pt x="588010" y="457842"/>
                    <a:pt x="586740" y="504832"/>
                    <a:pt x="561340" y="508007"/>
                  </a:cubicBezTo>
                  <a:cubicBezTo>
                    <a:pt x="607695" y="405772"/>
                    <a:pt x="632460" y="297822"/>
                    <a:pt x="690245" y="201302"/>
                  </a:cubicBezTo>
                  <a:cubicBezTo>
                    <a:pt x="678180" y="284487"/>
                    <a:pt x="633730" y="360052"/>
                    <a:pt x="602615" y="438792"/>
                  </a:cubicBezTo>
                  <a:close/>
                  <a:moveTo>
                    <a:pt x="313690" y="335287"/>
                  </a:moveTo>
                  <a:cubicBezTo>
                    <a:pt x="297815" y="333382"/>
                    <a:pt x="197485" y="287027"/>
                    <a:pt x="229870" y="330842"/>
                  </a:cubicBezTo>
                  <a:cubicBezTo>
                    <a:pt x="312420" y="365767"/>
                    <a:pt x="409575" y="363862"/>
                    <a:pt x="485775" y="412757"/>
                  </a:cubicBezTo>
                  <a:cubicBezTo>
                    <a:pt x="496570" y="419107"/>
                    <a:pt x="505460" y="426092"/>
                    <a:pt x="517525" y="415297"/>
                  </a:cubicBezTo>
                  <a:cubicBezTo>
                    <a:pt x="468630" y="357512"/>
                    <a:pt x="381000" y="360052"/>
                    <a:pt x="313690" y="335287"/>
                  </a:cubicBezTo>
                  <a:close/>
                  <a:moveTo>
                    <a:pt x="247650" y="245752"/>
                  </a:moveTo>
                  <a:cubicBezTo>
                    <a:pt x="237490" y="288932"/>
                    <a:pt x="370205" y="285757"/>
                    <a:pt x="402590" y="304172"/>
                  </a:cubicBezTo>
                  <a:cubicBezTo>
                    <a:pt x="441325" y="314332"/>
                    <a:pt x="480060" y="325762"/>
                    <a:pt x="514985" y="346717"/>
                  </a:cubicBezTo>
                  <a:cubicBezTo>
                    <a:pt x="520065" y="349892"/>
                    <a:pt x="526415" y="350527"/>
                    <a:pt x="528955" y="344812"/>
                  </a:cubicBezTo>
                  <a:cubicBezTo>
                    <a:pt x="528955" y="296552"/>
                    <a:pt x="299720" y="266072"/>
                    <a:pt x="247650" y="245752"/>
                  </a:cubicBezTo>
                  <a:close/>
                  <a:moveTo>
                    <a:pt x="190500" y="440062"/>
                  </a:moveTo>
                  <a:cubicBezTo>
                    <a:pt x="114300" y="454032"/>
                    <a:pt x="260350" y="477527"/>
                    <a:pt x="276860" y="483242"/>
                  </a:cubicBezTo>
                  <a:cubicBezTo>
                    <a:pt x="335915" y="490862"/>
                    <a:pt x="387350" y="520072"/>
                    <a:pt x="443230" y="535947"/>
                  </a:cubicBezTo>
                  <a:cubicBezTo>
                    <a:pt x="503555" y="508642"/>
                    <a:pt x="214630" y="446412"/>
                    <a:pt x="190500" y="440062"/>
                  </a:cubicBezTo>
                  <a:close/>
                  <a:moveTo>
                    <a:pt x="268605" y="189237"/>
                  </a:moveTo>
                  <a:cubicBezTo>
                    <a:pt x="246380" y="228607"/>
                    <a:pt x="356870" y="221622"/>
                    <a:pt x="381000" y="234322"/>
                  </a:cubicBezTo>
                  <a:cubicBezTo>
                    <a:pt x="434340" y="241307"/>
                    <a:pt x="481330" y="267977"/>
                    <a:pt x="532130" y="281312"/>
                  </a:cubicBezTo>
                  <a:cubicBezTo>
                    <a:pt x="610870" y="260992"/>
                    <a:pt x="292735" y="193047"/>
                    <a:pt x="268605" y="189237"/>
                  </a:cubicBezTo>
                  <a:close/>
                  <a:moveTo>
                    <a:pt x="529590" y="191777"/>
                  </a:moveTo>
                  <a:cubicBezTo>
                    <a:pt x="450215" y="181617"/>
                    <a:pt x="375920" y="153042"/>
                    <a:pt x="297815" y="136532"/>
                  </a:cubicBezTo>
                  <a:cubicBezTo>
                    <a:pt x="245745" y="161932"/>
                    <a:pt x="375920" y="169552"/>
                    <a:pt x="391795" y="180982"/>
                  </a:cubicBezTo>
                  <a:cubicBezTo>
                    <a:pt x="440055" y="196222"/>
                    <a:pt x="493395" y="197492"/>
                    <a:pt x="538480" y="220352"/>
                  </a:cubicBezTo>
                  <a:cubicBezTo>
                    <a:pt x="547370" y="224797"/>
                    <a:pt x="560070" y="217177"/>
                    <a:pt x="560070" y="205747"/>
                  </a:cubicBezTo>
                  <a:cubicBezTo>
                    <a:pt x="554990" y="193682"/>
                    <a:pt x="541020" y="193682"/>
                    <a:pt x="529590" y="191777"/>
                  </a:cubicBezTo>
                  <a:close/>
                  <a:moveTo>
                    <a:pt x="210185" y="381642"/>
                  </a:moveTo>
                  <a:cubicBezTo>
                    <a:pt x="205105" y="407677"/>
                    <a:pt x="219710" y="401327"/>
                    <a:pt x="234950" y="405137"/>
                  </a:cubicBezTo>
                  <a:cubicBezTo>
                    <a:pt x="308610" y="414027"/>
                    <a:pt x="380365" y="435617"/>
                    <a:pt x="449580" y="460382"/>
                  </a:cubicBezTo>
                  <a:cubicBezTo>
                    <a:pt x="534670" y="436887"/>
                    <a:pt x="233680" y="381007"/>
                    <a:pt x="210185" y="381642"/>
                  </a:cubicBezTo>
                  <a:close/>
                  <a:moveTo>
                    <a:pt x="158115" y="502292"/>
                  </a:moveTo>
                  <a:cubicBezTo>
                    <a:pt x="135890" y="498482"/>
                    <a:pt x="132080" y="519437"/>
                    <a:pt x="150495" y="523247"/>
                  </a:cubicBezTo>
                  <a:cubicBezTo>
                    <a:pt x="202565" y="528327"/>
                    <a:pt x="250190" y="551187"/>
                    <a:pt x="300355" y="561982"/>
                  </a:cubicBezTo>
                  <a:cubicBezTo>
                    <a:pt x="330200" y="530867"/>
                    <a:pt x="177165" y="511182"/>
                    <a:pt x="158115" y="50229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1" name="Google Shape;48;p2">
              <a:extLst>
                <a:ext uri="{FF2B5EF4-FFF2-40B4-BE49-F238E27FC236}">
                  <a16:creationId xmlns:a16="http://schemas.microsoft.com/office/drawing/2014/main" id="{4D10690C-C3D5-466C-AD32-8BB998CFB067}"/>
                </a:ext>
              </a:extLst>
            </p:cNvPr>
            <p:cNvSpPr/>
            <p:nvPr/>
          </p:nvSpPr>
          <p:spPr>
            <a:xfrm>
              <a:off x="1393062" y="748927"/>
              <a:ext cx="579203" cy="652168"/>
            </a:xfrm>
            <a:custGeom>
              <a:avLst/>
              <a:gdLst/>
              <a:ahLst/>
              <a:cxnLst/>
              <a:rect l="l" t="t" r="r" b="b"/>
              <a:pathLst>
                <a:path w="673492" h="758335" extrusionOk="0">
                  <a:moveTo>
                    <a:pt x="673374" y="561486"/>
                  </a:moveTo>
                  <a:cubicBezTo>
                    <a:pt x="620034" y="462426"/>
                    <a:pt x="597174" y="341776"/>
                    <a:pt x="553359" y="235731"/>
                  </a:cubicBezTo>
                  <a:cubicBezTo>
                    <a:pt x="527959" y="165881"/>
                    <a:pt x="499384" y="97301"/>
                    <a:pt x="477794" y="26181"/>
                  </a:cubicBezTo>
                  <a:cubicBezTo>
                    <a:pt x="475254" y="15386"/>
                    <a:pt x="467634" y="-1759"/>
                    <a:pt x="454934" y="146"/>
                  </a:cubicBezTo>
                  <a:cubicBezTo>
                    <a:pt x="404769" y="24276"/>
                    <a:pt x="-2266" y="86506"/>
                    <a:pt x="34564" y="136036"/>
                  </a:cubicBezTo>
                  <a:cubicBezTo>
                    <a:pt x="28849" y="139846"/>
                    <a:pt x="23769" y="143656"/>
                    <a:pt x="17419" y="147466"/>
                  </a:cubicBezTo>
                  <a:cubicBezTo>
                    <a:pt x="22499" y="196996"/>
                    <a:pt x="-33381" y="231286"/>
                    <a:pt x="32024" y="268116"/>
                  </a:cubicBezTo>
                  <a:cubicBezTo>
                    <a:pt x="31389" y="291611"/>
                    <a:pt x="36469" y="315106"/>
                    <a:pt x="54884" y="332886"/>
                  </a:cubicBezTo>
                  <a:cubicBezTo>
                    <a:pt x="36469" y="370986"/>
                    <a:pt x="33929" y="384956"/>
                    <a:pt x="68854" y="435756"/>
                  </a:cubicBezTo>
                  <a:cubicBezTo>
                    <a:pt x="61234" y="452901"/>
                    <a:pt x="66314" y="470046"/>
                    <a:pt x="79014" y="484016"/>
                  </a:cubicBezTo>
                  <a:cubicBezTo>
                    <a:pt x="104414" y="513861"/>
                    <a:pt x="66314" y="558946"/>
                    <a:pt x="104414" y="580536"/>
                  </a:cubicBezTo>
                  <a:cubicBezTo>
                    <a:pt x="115209" y="625621"/>
                    <a:pt x="115209" y="689121"/>
                    <a:pt x="167914" y="701821"/>
                  </a:cubicBezTo>
                  <a:cubicBezTo>
                    <a:pt x="198394" y="706266"/>
                    <a:pt x="186964" y="743096"/>
                    <a:pt x="210459" y="758336"/>
                  </a:cubicBezTo>
                  <a:cubicBezTo>
                    <a:pt x="250464" y="731031"/>
                    <a:pt x="296184" y="718966"/>
                    <a:pt x="342539" y="708806"/>
                  </a:cubicBezTo>
                  <a:cubicBezTo>
                    <a:pt x="399054" y="687216"/>
                    <a:pt x="456839" y="670071"/>
                    <a:pt x="515894" y="651656"/>
                  </a:cubicBezTo>
                  <a:cubicBezTo>
                    <a:pt x="555899" y="628161"/>
                    <a:pt x="620669" y="634511"/>
                    <a:pt x="648609" y="599586"/>
                  </a:cubicBezTo>
                  <a:cubicBezTo>
                    <a:pt x="653689" y="581806"/>
                    <a:pt x="675279" y="581806"/>
                    <a:pt x="673374" y="561486"/>
                  </a:cubicBezTo>
                  <a:close/>
                  <a:moveTo>
                    <a:pt x="30754" y="205886"/>
                  </a:moveTo>
                  <a:cubicBezTo>
                    <a:pt x="33929" y="217951"/>
                    <a:pt x="36469" y="225571"/>
                    <a:pt x="37739" y="233191"/>
                  </a:cubicBezTo>
                  <a:cubicBezTo>
                    <a:pt x="28849" y="257956"/>
                    <a:pt x="5354" y="221761"/>
                    <a:pt x="30754" y="205886"/>
                  </a:cubicBezTo>
                  <a:close/>
                  <a:moveTo>
                    <a:pt x="59964" y="196996"/>
                  </a:moveTo>
                  <a:cubicBezTo>
                    <a:pt x="55519" y="196996"/>
                    <a:pt x="52979" y="196996"/>
                    <a:pt x="53614" y="191916"/>
                  </a:cubicBezTo>
                  <a:cubicBezTo>
                    <a:pt x="56789" y="192551"/>
                    <a:pt x="58694" y="195091"/>
                    <a:pt x="59964" y="196996"/>
                  </a:cubicBezTo>
                  <a:cubicBezTo>
                    <a:pt x="59964" y="200171"/>
                    <a:pt x="59329" y="202711"/>
                    <a:pt x="60599" y="205251"/>
                  </a:cubicBezTo>
                  <a:cubicBezTo>
                    <a:pt x="59329" y="202711"/>
                    <a:pt x="59964" y="199536"/>
                    <a:pt x="59964" y="196996"/>
                  </a:cubicBezTo>
                  <a:close/>
                  <a:moveTo>
                    <a:pt x="80284" y="409721"/>
                  </a:moveTo>
                  <a:cubicBezTo>
                    <a:pt x="61869" y="404641"/>
                    <a:pt x="59964" y="386226"/>
                    <a:pt x="68219" y="366541"/>
                  </a:cubicBezTo>
                  <a:cubicBezTo>
                    <a:pt x="81554" y="380511"/>
                    <a:pt x="84729" y="390036"/>
                    <a:pt x="80284" y="409721"/>
                  </a:cubicBezTo>
                  <a:close/>
                  <a:moveTo>
                    <a:pt x="72664" y="259226"/>
                  </a:moveTo>
                  <a:cubicBezTo>
                    <a:pt x="75204" y="259861"/>
                    <a:pt x="74569" y="260496"/>
                    <a:pt x="73934" y="262401"/>
                  </a:cubicBezTo>
                  <a:cubicBezTo>
                    <a:pt x="71394" y="262401"/>
                    <a:pt x="72029" y="261131"/>
                    <a:pt x="72664" y="259226"/>
                  </a:cubicBezTo>
                  <a:close/>
                  <a:moveTo>
                    <a:pt x="96159" y="445281"/>
                  </a:moveTo>
                  <a:cubicBezTo>
                    <a:pt x="106319" y="456711"/>
                    <a:pt x="113304" y="466236"/>
                    <a:pt x="105684" y="482746"/>
                  </a:cubicBezTo>
                  <a:cubicBezTo>
                    <a:pt x="92349" y="471316"/>
                    <a:pt x="81554" y="462426"/>
                    <a:pt x="96159" y="445281"/>
                  </a:cubicBezTo>
                  <a:close/>
                  <a:moveTo>
                    <a:pt x="98699" y="339236"/>
                  </a:moveTo>
                  <a:cubicBezTo>
                    <a:pt x="103144" y="352571"/>
                    <a:pt x="105684" y="362096"/>
                    <a:pt x="110129" y="376066"/>
                  </a:cubicBezTo>
                  <a:cubicBezTo>
                    <a:pt x="96159" y="359556"/>
                    <a:pt x="96159" y="359556"/>
                    <a:pt x="98699" y="339236"/>
                  </a:cubicBezTo>
                  <a:close/>
                  <a:moveTo>
                    <a:pt x="122829" y="558311"/>
                  </a:moveTo>
                  <a:cubicBezTo>
                    <a:pt x="94254" y="564026"/>
                    <a:pt x="106319" y="529736"/>
                    <a:pt x="119654" y="507511"/>
                  </a:cubicBezTo>
                  <a:cubicBezTo>
                    <a:pt x="126639" y="527196"/>
                    <a:pt x="143784" y="543706"/>
                    <a:pt x="122829" y="558311"/>
                  </a:cubicBezTo>
                  <a:close/>
                  <a:moveTo>
                    <a:pt x="136164" y="584981"/>
                  </a:moveTo>
                  <a:cubicBezTo>
                    <a:pt x="148864" y="589426"/>
                    <a:pt x="148229" y="597681"/>
                    <a:pt x="145689" y="606571"/>
                  </a:cubicBezTo>
                  <a:cubicBezTo>
                    <a:pt x="129814" y="626891"/>
                    <a:pt x="125369" y="595776"/>
                    <a:pt x="136164" y="584981"/>
                  </a:cubicBezTo>
                  <a:close/>
                  <a:moveTo>
                    <a:pt x="148864" y="645941"/>
                  </a:moveTo>
                  <a:cubicBezTo>
                    <a:pt x="166644" y="642131"/>
                    <a:pt x="169819" y="663086"/>
                    <a:pt x="171089" y="675786"/>
                  </a:cubicBezTo>
                  <a:cubicBezTo>
                    <a:pt x="155849" y="687851"/>
                    <a:pt x="141879" y="664356"/>
                    <a:pt x="148864" y="645941"/>
                  </a:cubicBezTo>
                  <a:close/>
                  <a:moveTo>
                    <a:pt x="222524" y="723411"/>
                  </a:moveTo>
                  <a:cubicBezTo>
                    <a:pt x="221889" y="722141"/>
                    <a:pt x="221254" y="720871"/>
                    <a:pt x="220619" y="719601"/>
                  </a:cubicBezTo>
                  <a:cubicBezTo>
                    <a:pt x="222524" y="718331"/>
                    <a:pt x="223794" y="718966"/>
                    <a:pt x="224429" y="721506"/>
                  </a:cubicBezTo>
                  <a:cubicBezTo>
                    <a:pt x="223159" y="722141"/>
                    <a:pt x="223159" y="722776"/>
                    <a:pt x="222524" y="723411"/>
                  </a:cubicBezTo>
                  <a:close/>
                  <a:moveTo>
                    <a:pt x="248559" y="709441"/>
                  </a:moveTo>
                  <a:cubicBezTo>
                    <a:pt x="251099" y="699281"/>
                    <a:pt x="261259" y="696106"/>
                    <a:pt x="269514" y="693566"/>
                  </a:cubicBezTo>
                  <a:cubicBezTo>
                    <a:pt x="355239" y="675151"/>
                    <a:pt x="435884" y="637051"/>
                    <a:pt x="520974" y="623716"/>
                  </a:cubicBezTo>
                  <a:cubicBezTo>
                    <a:pt x="502559" y="639591"/>
                    <a:pt x="282849" y="718966"/>
                    <a:pt x="248559" y="709441"/>
                  </a:cubicBezTo>
                  <a:close/>
                  <a:moveTo>
                    <a:pt x="523514" y="623081"/>
                  </a:moveTo>
                  <a:cubicBezTo>
                    <a:pt x="524784" y="622446"/>
                    <a:pt x="525419" y="621811"/>
                    <a:pt x="526689" y="621176"/>
                  </a:cubicBezTo>
                  <a:cubicBezTo>
                    <a:pt x="526054" y="622446"/>
                    <a:pt x="524784" y="623081"/>
                    <a:pt x="523514" y="623081"/>
                  </a:cubicBezTo>
                  <a:close/>
                  <a:moveTo>
                    <a:pt x="232684" y="682771"/>
                  </a:moveTo>
                  <a:cubicBezTo>
                    <a:pt x="222524" y="671341"/>
                    <a:pt x="222524" y="658006"/>
                    <a:pt x="216809" y="642766"/>
                  </a:cubicBezTo>
                  <a:cubicBezTo>
                    <a:pt x="254274" y="607841"/>
                    <a:pt x="182519" y="602126"/>
                    <a:pt x="206649" y="563391"/>
                  </a:cubicBezTo>
                  <a:cubicBezTo>
                    <a:pt x="190139" y="545611"/>
                    <a:pt x="173629" y="525926"/>
                    <a:pt x="174264" y="497986"/>
                  </a:cubicBezTo>
                  <a:cubicBezTo>
                    <a:pt x="237129" y="492906"/>
                    <a:pt x="139974" y="468141"/>
                    <a:pt x="148229" y="412261"/>
                  </a:cubicBezTo>
                  <a:cubicBezTo>
                    <a:pt x="155849" y="415436"/>
                    <a:pt x="162834" y="418611"/>
                    <a:pt x="172359" y="421786"/>
                  </a:cubicBezTo>
                  <a:cubicBezTo>
                    <a:pt x="172994" y="394481"/>
                    <a:pt x="151404" y="390671"/>
                    <a:pt x="136164" y="381781"/>
                  </a:cubicBezTo>
                  <a:cubicBezTo>
                    <a:pt x="132354" y="370351"/>
                    <a:pt x="127274" y="360191"/>
                    <a:pt x="128544" y="347491"/>
                  </a:cubicBezTo>
                  <a:cubicBezTo>
                    <a:pt x="134894" y="346856"/>
                    <a:pt x="139974" y="346221"/>
                    <a:pt x="145054" y="346221"/>
                  </a:cubicBezTo>
                  <a:cubicBezTo>
                    <a:pt x="160294" y="320821"/>
                    <a:pt x="97429" y="315741"/>
                    <a:pt x="103779" y="266211"/>
                  </a:cubicBezTo>
                  <a:cubicBezTo>
                    <a:pt x="110129" y="264941"/>
                    <a:pt x="115209" y="264306"/>
                    <a:pt x="122194" y="263036"/>
                  </a:cubicBezTo>
                  <a:cubicBezTo>
                    <a:pt x="119654" y="230651"/>
                    <a:pt x="87269" y="233826"/>
                    <a:pt x="84094" y="197631"/>
                  </a:cubicBezTo>
                  <a:cubicBezTo>
                    <a:pt x="89809" y="194456"/>
                    <a:pt x="95524" y="191281"/>
                    <a:pt x="103144" y="186836"/>
                  </a:cubicBezTo>
                  <a:cubicBezTo>
                    <a:pt x="84094" y="166516"/>
                    <a:pt x="63139" y="158261"/>
                    <a:pt x="62504" y="125876"/>
                  </a:cubicBezTo>
                  <a:cubicBezTo>
                    <a:pt x="184424" y="76346"/>
                    <a:pt x="322219" y="50946"/>
                    <a:pt x="451759" y="25546"/>
                  </a:cubicBezTo>
                  <a:cubicBezTo>
                    <a:pt x="519069" y="198266"/>
                    <a:pt x="592094" y="374796"/>
                    <a:pt x="635909" y="555771"/>
                  </a:cubicBezTo>
                  <a:cubicBezTo>
                    <a:pt x="508274" y="616096"/>
                    <a:pt x="366669" y="643401"/>
                    <a:pt x="232684" y="682771"/>
                  </a:cubicBezTo>
                  <a:close/>
                  <a:moveTo>
                    <a:pt x="397784" y="69361"/>
                  </a:moveTo>
                  <a:cubicBezTo>
                    <a:pt x="303804" y="94126"/>
                    <a:pt x="210459" y="117621"/>
                    <a:pt x="117114" y="145561"/>
                  </a:cubicBezTo>
                  <a:cubicBezTo>
                    <a:pt x="171724" y="303041"/>
                    <a:pt x="205379" y="466236"/>
                    <a:pt x="253004" y="625621"/>
                  </a:cubicBezTo>
                  <a:cubicBezTo>
                    <a:pt x="256179" y="635146"/>
                    <a:pt x="265069" y="638956"/>
                    <a:pt x="273324" y="633876"/>
                  </a:cubicBezTo>
                  <a:cubicBezTo>
                    <a:pt x="378734" y="598951"/>
                    <a:pt x="487954" y="572916"/>
                    <a:pt x="593999" y="537356"/>
                  </a:cubicBezTo>
                  <a:cubicBezTo>
                    <a:pt x="560344" y="406546"/>
                    <a:pt x="498749" y="280816"/>
                    <a:pt x="461919" y="148736"/>
                  </a:cubicBezTo>
                  <a:cubicBezTo>
                    <a:pt x="451124" y="116351"/>
                    <a:pt x="444774" y="54756"/>
                    <a:pt x="397784" y="69361"/>
                  </a:cubicBezTo>
                  <a:close/>
                  <a:moveTo>
                    <a:pt x="415564" y="90951"/>
                  </a:moveTo>
                  <a:cubicBezTo>
                    <a:pt x="425089" y="97936"/>
                    <a:pt x="427629" y="107461"/>
                    <a:pt x="426359" y="122066"/>
                  </a:cubicBezTo>
                  <a:cubicBezTo>
                    <a:pt x="375559" y="158896"/>
                    <a:pt x="350159" y="80156"/>
                    <a:pt x="415564" y="90951"/>
                  </a:cubicBezTo>
                  <a:close/>
                  <a:moveTo>
                    <a:pt x="433344" y="378606"/>
                  </a:moveTo>
                  <a:cubicBezTo>
                    <a:pt x="425724" y="381146"/>
                    <a:pt x="418739" y="383051"/>
                    <a:pt x="413024" y="384321"/>
                  </a:cubicBezTo>
                  <a:cubicBezTo>
                    <a:pt x="395879" y="367176"/>
                    <a:pt x="387624" y="339871"/>
                    <a:pt x="425089" y="339871"/>
                  </a:cubicBezTo>
                  <a:cubicBezTo>
                    <a:pt x="430804" y="350666"/>
                    <a:pt x="434614" y="362096"/>
                    <a:pt x="433344" y="378606"/>
                  </a:cubicBezTo>
                  <a:close/>
                  <a:moveTo>
                    <a:pt x="423819" y="437661"/>
                  </a:moveTo>
                  <a:cubicBezTo>
                    <a:pt x="419374" y="426866"/>
                    <a:pt x="416834" y="420516"/>
                    <a:pt x="414294" y="409086"/>
                  </a:cubicBezTo>
                  <a:cubicBezTo>
                    <a:pt x="453664" y="375431"/>
                    <a:pt x="471444" y="442741"/>
                    <a:pt x="423819" y="437661"/>
                  </a:cubicBezTo>
                  <a:close/>
                  <a:moveTo>
                    <a:pt x="284754" y="308756"/>
                  </a:moveTo>
                  <a:cubicBezTo>
                    <a:pt x="299359" y="319551"/>
                    <a:pt x="299994" y="334156"/>
                    <a:pt x="306344" y="350666"/>
                  </a:cubicBezTo>
                  <a:cubicBezTo>
                    <a:pt x="293009" y="362096"/>
                    <a:pt x="280309" y="362096"/>
                    <a:pt x="267609" y="365271"/>
                  </a:cubicBezTo>
                  <a:cubicBezTo>
                    <a:pt x="258719" y="351936"/>
                    <a:pt x="255544" y="338601"/>
                    <a:pt x="254909" y="322091"/>
                  </a:cubicBezTo>
                  <a:cubicBezTo>
                    <a:pt x="265069" y="317646"/>
                    <a:pt x="273959" y="313201"/>
                    <a:pt x="284754" y="308756"/>
                  </a:cubicBezTo>
                  <a:close/>
                  <a:moveTo>
                    <a:pt x="249194" y="297961"/>
                  </a:moveTo>
                  <a:cubicBezTo>
                    <a:pt x="244749" y="285896"/>
                    <a:pt x="240939" y="275101"/>
                    <a:pt x="237129" y="263671"/>
                  </a:cubicBezTo>
                  <a:cubicBezTo>
                    <a:pt x="248559" y="257321"/>
                    <a:pt x="258719" y="252876"/>
                    <a:pt x="272054" y="254146"/>
                  </a:cubicBezTo>
                  <a:cubicBezTo>
                    <a:pt x="287294" y="278276"/>
                    <a:pt x="289834" y="297961"/>
                    <a:pt x="249194" y="297961"/>
                  </a:cubicBezTo>
                  <a:close/>
                  <a:moveTo>
                    <a:pt x="312059" y="285261"/>
                  </a:moveTo>
                  <a:cubicBezTo>
                    <a:pt x="297454" y="273831"/>
                    <a:pt x="299359" y="260496"/>
                    <a:pt x="297454" y="248431"/>
                  </a:cubicBezTo>
                  <a:cubicBezTo>
                    <a:pt x="307614" y="236366"/>
                    <a:pt x="320949" y="233191"/>
                    <a:pt x="334284" y="230651"/>
                  </a:cubicBezTo>
                  <a:cubicBezTo>
                    <a:pt x="346984" y="240811"/>
                    <a:pt x="344444" y="256051"/>
                    <a:pt x="350159" y="268116"/>
                  </a:cubicBezTo>
                  <a:cubicBezTo>
                    <a:pt x="339999" y="283356"/>
                    <a:pt x="322854" y="278276"/>
                    <a:pt x="312059" y="285261"/>
                  </a:cubicBezTo>
                  <a:close/>
                  <a:moveTo>
                    <a:pt x="369209" y="328441"/>
                  </a:moveTo>
                  <a:cubicBezTo>
                    <a:pt x="357144" y="339871"/>
                    <a:pt x="343174" y="344316"/>
                    <a:pt x="327299" y="348126"/>
                  </a:cubicBezTo>
                  <a:cubicBezTo>
                    <a:pt x="322219" y="333521"/>
                    <a:pt x="317139" y="320186"/>
                    <a:pt x="310154" y="301771"/>
                  </a:cubicBezTo>
                  <a:cubicBezTo>
                    <a:pt x="326029" y="297326"/>
                    <a:pt x="338094" y="294151"/>
                    <a:pt x="349524" y="290976"/>
                  </a:cubicBezTo>
                  <a:cubicBezTo>
                    <a:pt x="364764" y="301136"/>
                    <a:pt x="364129" y="315741"/>
                    <a:pt x="369209" y="328441"/>
                  </a:cubicBezTo>
                  <a:close/>
                  <a:moveTo>
                    <a:pt x="308249" y="374796"/>
                  </a:moveTo>
                  <a:cubicBezTo>
                    <a:pt x="317139" y="386226"/>
                    <a:pt x="320949" y="398926"/>
                    <a:pt x="323489" y="416071"/>
                  </a:cubicBezTo>
                  <a:cubicBezTo>
                    <a:pt x="308884" y="420516"/>
                    <a:pt x="298724" y="428136"/>
                    <a:pt x="284119" y="423056"/>
                  </a:cubicBezTo>
                  <a:cubicBezTo>
                    <a:pt x="280944" y="412261"/>
                    <a:pt x="278404" y="401466"/>
                    <a:pt x="275229" y="390036"/>
                  </a:cubicBezTo>
                  <a:cubicBezTo>
                    <a:pt x="282849" y="378606"/>
                    <a:pt x="294914" y="375431"/>
                    <a:pt x="308249" y="374796"/>
                  </a:cubicBezTo>
                  <a:close/>
                  <a:moveTo>
                    <a:pt x="327934" y="435756"/>
                  </a:moveTo>
                  <a:cubicBezTo>
                    <a:pt x="338729" y="444011"/>
                    <a:pt x="340634" y="456076"/>
                    <a:pt x="343174" y="468141"/>
                  </a:cubicBezTo>
                  <a:cubicBezTo>
                    <a:pt x="334284" y="478936"/>
                    <a:pt x="322219" y="480206"/>
                    <a:pt x="310789" y="484016"/>
                  </a:cubicBezTo>
                  <a:cubicBezTo>
                    <a:pt x="298724" y="475761"/>
                    <a:pt x="292374" y="464331"/>
                    <a:pt x="291739" y="450361"/>
                  </a:cubicBezTo>
                  <a:cubicBezTo>
                    <a:pt x="308249" y="438296"/>
                    <a:pt x="308249" y="437661"/>
                    <a:pt x="327934" y="435756"/>
                  </a:cubicBezTo>
                  <a:close/>
                  <a:moveTo>
                    <a:pt x="332379" y="373526"/>
                  </a:moveTo>
                  <a:cubicBezTo>
                    <a:pt x="344444" y="361461"/>
                    <a:pt x="358414" y="357016"/>
                    <a:pt x="375559" y="353206"/>
                  </a:cubicBezTo>
                  <a:cubicBezTo>
                    <a:pt x="384449" y="366541"/>
                    <a:pt x="385084" y="377971"/>
                    <a:pt x="384449" y="390671"/>
                  </a:cubicBezTo>
                  <a:cubicBezTo>
                    <a:pt x="373654" y="401466"/>
                    <a:pt x="360319" y="405276"/>
                    <a:pt x="345714" y="406546"/>
                  </a:cubicBezTo>
                  <a:cubicBezTo>
                    <a:pt x="336189" y="397021"/>
                    <a:pt x="334919" y="385591"/>
                    <a:pt x="332379" y="373526"/>
                  </a:cubicBezTo>
                  <a:close/>
                  <a:moveTo>
                    <a:pt x="386989" y="414166"/>
                  </a:moveTo>
                  <a:cubicBezTo>
                    <a:pt x="398419" y="421786"/>
                    <a:pt x="399689" y="434486"/>
                    <a:pt x="402229" y="446551"/>
                  </a:cubicBezTo>
                  <a:cubicBezTo>
                    <a:pt x="392704" y="456076"/>
                    <a:pt x="381909" y="457981"/>
                    <a:pt x="369844" y="458616"/>
                  </a:cubicBezTo>
                  <a:cubicBezTo>
                    <a:pt x="360954" y="450361"/>
                    <a:pt x="358414" y="439566"/>
                    <a:pt x="355874" y="428771"/>
                  </a:cubicBezTo>
                  <a:cubicBezTo>
                    <a:pt x="363494" y="417341"/>
                    <a:pt x="375559" y="417976"/>
                    <a:pt x="386989" y="414166"/>
                  </a:cubicBezTo>
                  <a:close/>
                  <a:moveTo>
                    <a:pt x="404769" y="279546"/>
                  </a:moveTo>
                  <a:cubicBezTo>
                    <a:pt x="412389" y="289071"/>
                    <a:pt x="413024" y="302406"/>
                    <a:pt x="420009" y="314471"/>
                  </a:cubicBezTo>
                  <a:cubicBezTo>
                    <a:pt x="388894" y="350666"/>
                    <a:pt x="352699" y="279546"/>
                    <a:pt x="404769" y="279546"/>
                  </a:cubicBezTo>
                  <a:close/>
                  <a:moveTo>
                    <a:pt x="372384" y="263036"/>
                  </a:moveTo>
                  <a:cubicBezTo>
                    <a:pt x="363494" y="251606"/>
                    <a:pt x="361589" y="238906"/>
                    <a:pt x="363494" y="223031"/>
                  </a:cubicBezTo>
                  <a:cubicBezTo>
                    <a:pt x="370479" y="220491"/>
                    <a:pt x="376829" y="218586"/>
                    <a:pt x="382544" y="216681"/>
                  </a:cubicBezTo>
                  <a:cubicBezTo>
                    <a:pt x="400324" y="230016"/>
                    <a:pt x="413659" y="260496"/>
                    <a:pt x="372384" y="263036"/>
                  </a:cubicBezTo>
                  <a:close/>
                  <a:moveTo>
                    <a:pt x="354604" y="201441"/>
                  </a:moveTo>
                  <a:cubicBezTo>
                    <a:pt x="345714" y="193186"/>
                    <a:pt x="344444" y="181756"/>
                    <a:pt x="341904" y="168421"/>
                  </a:cubicBezTo>
                  <a:cubicBezTo>
                    <a:pt x="349524" y="165246"/>
                    <a:pt x="356509" y="161436"/>
                    <a:pt x="366669" y="156991"/>
                  </a:cubicBezTo>
                  <a:cubicBezTo>
                    <a:pt x="378099" y="179216"/>
                    <a:pt x="393339" y="203346"/>
                    <a:pt x="354604" y="201441"/>
                  </a:cubicBezTo>
                  <a:close/>
                  <a:moveTo>
                    <a:pt x="363494" y="137306"/>
                  </a:moveTo>
                  <a:cubicBezTo>
                    <a:pt x="354604" y="143656"/>
                    <a:pt x="346984" y="145561"/>
                    <a:pt x="337459" y="146831"/>
                  </a:cubicBezTo>
                  <a:cubicBezTo>
                    <a:pt x="299359" y="106826"/>
                    <a:pt x="355239" y="80791"/>
                    <a:pt x="363494" y="137306"/>
                  </a:cubicBezTo>
                  <a:close/>
                  <a:moveTo>
                    <a:pt x="328569" y="207791"/>
                  </a:moveTo>
                  <a:cubicBezTo>
                    <a:pt x="311424" y="219221"/>
                    <a:pt x="311424" y="219221"/>
                    <a:pt x="293009" y="221761"/>
                  </a:cubicBezTo>
                  <a:cubicBezTo>
                    <a:pt x="268879" y="193821"/>
                    <a:pt x="277134" y="170326"/>
                    <a:pt x="315869" y="174771"/>
                  </a:cubicBezTo>
                  <a:cubicBezTo>
                    <a:pt x="324759" y="187471"/>
                    <a:pt x="324759" y="187471"/>
                    <a:pt x="328569" y="207791"/>
                  </a:cubicBezTo>
                  <a:close/>
                  <a:moveTo>
                    <a:pt x="312694" y="154451"/>
                  </a:moveTo>
                  <a:cubicBezTo>
                    <a:pt x="299994" y="162706"/>
                    <a:pt x="289199" y="165246"/>
                    <a:pt x="276499" y="163341"/>
                  </a:cubicBezTo>
                  <a:cubicBezTo>
                    <a:pt x="267609" y="153816"/>
                    <a:pt x="265069" y="141751"/>
                    <a:pt x="261894" y="127781"/>
                  </a:cubicBezTo>
                  <a:cubicBezTo>
                    <a:pt x="290469" y="104286"/>
                    <a:pt x="308249" y="123336"/>
                    <a:pt x="312694" y="154451"/>
                  </a:cubicBezTo>
                  <a:close/>
                  <a:moveTo>
                    <a:pt x="269514" y="229381"/>
                  </a:moveTo>
                  <a:cubicBezTo>
                    <a:pt x="254909" y="238906"/>
                    <a:pt x="243479" y="242716"/>
                    <a:pt x="230144" y="238906"/>
                  </a:cubicBezTo>
                  <a:cubicBezTo>
                    <a:pt x="222524" y="226841"/>
                    <a:pt x="218714" y="214141"/>
                    <a:pt x="218714" y="200171"/>
                  </a:cubicBezTo>
                  <a:cubicBezTo>
                    <a:pt x="228239" y="191281"/>
                    <a:pt x="238399" y="188106"/>
                    <a:pt x="251734" y="189376"/>
                  </a:cubicBezTo>
                  <a:cubicBezTo>
                    <a:pt x="263799" y="198901"/>
                    <a:pt x="262529" y="214141"/>
                    <a:pt x="269514" y="229381"/>
                  </a:cubicBezTo>
                  <a:close/>
                  <a:moveTo>
                    <a:pt x="205379" y="139846"/>
                  </a:moveTo>
                  <a:cubicBezTo>
                    <a:pt x="241574" y="132861"/>
                    <a:pt x="244114" y="134131"/>
                    <a:pt x="248559" y="165881"/>
                  </a:cubicBezTo>
                  <a:cubicBezTo>
                    <a:pt x="233954" y="174771"/>
                    <a:pt x="233954" y="175406"/>
                    <a:pt x="212364" y="176041"/>
                  </a:cubicBezTo>
                  <a:cubicBezTo>
                    <a:pt x="205379" y="166516"/>
                    <a:pt x="202204" y="155086"/>
                    <a:pt x="205379" y="139846"/>
                  </a:cubicBezTo>
                  <a:close/>
                  <a:moveTo>
                    <a:pt x="146959" y="160166"/>
                  </a:moveTo>
                  <a:cubicBezTo>
                    <a:pt x="155849" y="153181"/>
                    <a:pt x="164739" y="148736"/>
                    <a:pt x="177439" y="151911"/>
                  </a:cubicBezTo>
                  <a:cubicBezTo>
                    <a:pt x="182519" y="162071"/>
                    <a:pt x="186964" y="172231"/>
                    <a:pt x="185694" y="184296"/>
                  </a:cubicBezTo>
                  <a:cubicBezTo>
                    <a:pt x="172359" y="193821"/>
                    <a:pt x="172359" y="193821"/>
                    <a:pt x="154579" y="195726"/>
                  </a:cubicBezTo>
                  <a:cubicBezTo>
                    <a:pt x="149499" y="183026"/>
                    <a:pt x="145689" y="172231"/>
                    <a:pt x="146959" y="160166"/>
                  </a:cubicBezTo>
                  <a:close/>
                  <a:moveTo>
                    <a:pt x="194584" y="209696"/>
                  </a:moveTo>
                  <a:cubicBezTo>
                    <a:pt x="204109" y="225571"/>
                    <a:pt x="203474" y="225571"/>
                    <a:pt x="204744" y="245891"/>
                  </a:cubicBezTo>
                  <a:cubicBezTo>
                    <a:pt x="199029" y="254781"/>
                    <a:pt x="189504" y="257956"/>
                    <a:pt x="176804" y="259861"/>
                  </a:cubicBezTo>
                  <a:cubicBezTo>
                    <a:pt x="160929" y="240811"/>
                    <a:pt x="160294" y="202076"/>
                    <a:pt x="194584" y="209696"/>
                  </a:cubicBezTo>
                  <a:close/>
                  <a:moveTo>
                    <a:pt x="181884" y="289071"/>
                  </a:moveTo>
                  <a:cubicBezTo>
                    <a:pt x="188869" y="277641"/>
                    <a:pt x="200299" y="273196"/>
                    <a:pt x="212999" y="271291"/>
                  </a:cubicBezTo>
                  <a:cubicBezTo>
                    <a:pt x="222524" y="281451"/>
                    <a:pt x="225699" y="292881"/>
                    <a:pt x="226334" y="305581"/>
                  </a:cubicBezTo>
                  <a:cubicBezTo>
                    <a:pt x="211729" y="316376"/>
                    <a:pt x="211729" y="316376"/>
                    <a:pt x="195219" y="317646"/>
                  </a:cubicBezTo>
                  <a:cubicBezTo>
                    <a:pt x="187599" y="310026"/>
                    <a:pt x="186964" y="299231"/>
                    <a:pt x="181884" y="289071"/>
                  </a:cubicBezTo>
                  <a:close/>
                  <a:moveTo>
                    <a:pt x="230779" y="331616"/>
                  </a:moveTo>
                  <a:cubicBezTo>
                    <a:pt x="240304" y="344316"/>
                    <a:pt x="254274" y="374161"/>
                    <a:pt x="232684" y="379876"/>
                  </a:cubicBezTo>
                  <a:cubicBezTo>
                    <a:pt x="193314" y="386226"/>
                    <a:pt x="192679" y="330981"/>
                    <a:pt x="230779" y="331616"/>
                  </a:cubicBezTo>
                  <a:close/>
                  <a:moveTo>
                    <a:pt x="217444" y="409721"/>
                  </a:moveTo>
                  <a:cubicBezTo>
                    <a:pt x="228874" y="401466"/>
                    <a:pt x="239669" y="397656"/>
                    <a:pt x="251734" y="397656"/>
                  </a:cubicBezTo>
                  <a:cubicBezTo>
                    <a:pt x="261259" y="406546"/>
                    <a:pt x="263164" y="417976"/>
                    <a:pt x="261894" y="431311"/>
                  </a:cubicBezTo>
                  <a:cubicBezTo>
                    <a:pt x="252369" y="439566"/>
                    <a:pt x="242209" y="445281"/>
                    <a:pt x="228239" y="444646"/>
                  </a:cubicBezTo>
                  <a:cubicBezTo>
                    <a:pt x="219984" y="435121"/>
                    <a:pt x="219984" y="423691"/>
                    <a:pt x="217444" y="409721"/>
                  </a:cubicBezTo>
                  <a:close/>
                  <a:moveTo>
                    <a:pt x="235224" y="469411"/>
                  </a:moveTo>
                  <a:cubicBezTo>
                    <a:pt x="244749" y="464966"/>
                    <a:pt x="253639" y="460521"/>
                    <a:pt x="262529" y="456076"/>
                  </a:cubicBezTo>
                  <a:cubicBezTo>
                    <a:pt x="276499" y="464966"/>
                    <a:pt x="280309" y="477666"/>
                    <a:pt x="280944" y="492271"/>
                  </a:cubicBezTo>
                  <a:cubicBezTo>
                    <a:pt x="271419" y="503066"/>
                    <a:pt x="259989" y="508781"/>
                    <a:pt x="244749" y="507511"/>
                  </a:cubicBezTo>
                  <a:cubicBezTo>
                    <a:pt x="237129" y="496081"/>
                    <a:pt x="235224" y="484016"/>
                    <a:pt x="235224" y="469411"/>
                  </a:cubicBezTo>
                  <a:close/>
                  <a:moveTo>
                    <a:pt x="256179" y="560851"/>
                  </a:moveTo>
                  <a:cubicBezTo>
                    <a:pt x="253639" y="550691"/>
                    <a:pt x="251734" y="542436"/>
                    <a:pt x="249194" y="534816"/>
                  </a:cubicBezTo>
                  <a:cubicBezTo>
                    <a:pt x="259354" y="524021"/>
                    <a:pt x="271419" y="520846"/>
                    <a:pt x="282849" y="517671"/>
                  </a:cubicBezTo>
                  <a:cubicBezTo>
                    <a:pt x="294279" y="524656"/>
                    <a:pt x="294914" y="535451"/>
                    <a:pt x="297454" y="546246"/>
                  </a:cubicBezTo>
                  <a:cubicBezTo>
                    <a:pt x="286659" y="556406"/>
                    <a:pt x="273959" y="558311"/>
                    <a:pt x="256179" y="560851"/>
                  </a:cubicBezTo>
                  <a:close/>
                  <a:moveTo>
                    <a:pt x="276499" y="606571"/>
                  </a:moveTo>
                  <a:cubicBezTo>
                    <a:pt x="267609" y="600221"/>
                    <a:pt x="265704" y="592601"/>
                    <a:pt x="268879" y="581171"/>
                  </a:cubicBezTo>
                  <a:cubicBezTo>
                    <a:pt x="315869" y="551961"/>
                    <a:pt x="331109" y="608476"/>
                    <a:pt x="276499" y="606571"/>
                  </a:cubicBezTo>
                  <a:close/>
                  <a:moveTo>
                    <a:pt x="348889" y="487826"/>
                  </a:moveTo>
                  <a:cubicBezTo>
                    <a:pt x="362224" y="494811"/>
                    <a:pt x="362859" y="506876"/>
                    <a:pt x="364129" y="523386"/>
                  </a:cubicBezTo>
                  <a:cubicBezTo>
                    <a:pt x="350159" y="528466"/>
                    <a:pt x="338729" y="532911"/>
                    <a:pt x="327934" y="536721"/>
                  </a:cubicBezTo>
                  <a:cubicBezTo>
                    <a:pt x="296819" y="511321"/>
                    <a:pt x="317774" y="493541"/>
                    <a:pt x="348889" y="487826"/>
                  </a:cubicBezTo>
                  <a:close/>
                  <a:moveTo>
                    <a:pt x="339364" y="593871"/>
                  </a:moveTo>
                  <a:cubicBezTo>
                    <a:pt x="329839" y="585616"/>
                    <a:pt x="333014" y="572916"/>
                    <a:pt x="329204" y="562121"/>
                  </a:cubicBezTo>
                  <a:cubicBezTo>
                    <a:pt x="338729" y="548151"/>
                    <a:pt x="353969" y="546246"/>
                    <a:pt x="366669" y="541166"/>
                  </a:cubicBezTo>
                  <a:cubicBezTo>
                    <a:pt x="378099" y="555771"/>
                    <a:pt x="378099" y="555771"/>
                    <a:pt x="380004" y="579266"/>
                  </a:cubicBezTo>
                  <a:cubicBezTo>
                    <a:pt x="362859" y="591331"/>
                    <a:pt x="362859" y="591331"/>
                    <a:pt x="339364" y="593871"/>
                  </a:cubicBezTo>
                  <a:close/>
                  <a:moveTo>
                    <a:pt x="378099" y="481476"/>
                  </a:moveTo>
                  <a:cubicBezTo>
                    <a:pt x="385719" y="471951"/>
                    <a:pt x="394609" y="468141"/>
                    <a:pt x="406674" y="468776"/>
                  </a:cubicBezTo>
                  <a:cubicBezTo>
                    <a:pt x="414294" y="477666"/>
                    <a:pt x="418739" y="487826"/>
                    <a:pt x="420009" y="499256"/>
                  </a:cubicBezTo>
                  <a:cubicBezTo>
                    <a:pt x="413024" y="509416"/>
                    <a:pt x="402864" y="512591"/>
                    <a:pt x="390164" y="515131"/>
                  </a:cubicBezTo>
                  <a:cubicBezTo>
                    <a:pt x="380639" y="504971"/>
                    <a:pt x="380639" y="492906"/>
                    <a:pt x="378099" y="481476"/>
                  </a:cubicBezTo>
                  <a:close/>
                  <a:moveTo>
                    <a:pt x="411119" y="571646"/>
                  </a:moveTo>
                  <a:cubicBezTo>
                    <a:pt x="393339" y="550056"/>
                    <a:pt x="389529" y="530371"/>
                    <a:pt x="425724" y="524021"/>
                  </a:cubicBezTo>
                  <a:cubicBezTo>
                    <a:pt x="432074" y="536721"/>
                    <a:pt x="437154" y="550056"/>
                    <a:pt x="441599" y="564026"/>
                  </a:cubicBezTo>
                  <a:cubicBezTo>
                    <a:pt x="432074" y="571011"/>
                    <a:pt x="422549" y="573551"/>
                    <a:pt x="411119" y="571646"/>
                  </a:cubicBezTo>
                  <a:close/>
                  <a:moveTo>
                    <a:pt x="435884" y="480841"/>
                  </a:moveTo>
                  <a:cubicBezTo>
                    <a:pt x="425724" y="454806"/>
                    <a:pt x="442869" y="452901"/>
                    <a:pt x="462554" y="447821"/>
                  </a:cubicBezTo>
                  <a:cubicBezTo>
                    <a:pt x="487954" y="483381"/>
                    <a:pt x="456204" y="514496"/>
                    <a:pt x="435884" y="480841"/>
                  </a:cubicBezTo>
                  <a:close/>
                  <a:moveTo>
                    <a:pt x="466364" y="555136"/>
                  </a:moveTo>
                  <a:cubicBezTo>
                    <a:pt x="458744" y="541166"/>
                    <a:pt x="447949" y="529736"/>
                    <a:pt x="451759" y="508781"/>
                  </a:cubicBezTo>
                  <a:lnTo>
                    <a:pt x="483509" y="508781"/>
                  </a:lnTo>
                  <a:cubicBezTo>
                    <a:pt x="486684" y="519576"/>
                    <a:pt x="489224" y="530371"/>
                    <a:pt x="491764" y="539261"/>
                  </a:cubicBezTo>
                  <a:cubicBezTo>
                    <a:pt x="486049" y="551961"/>
                    <a:pt x="476524" y="552596"/>
                    <a:pt x="466364" y="555136"/>
                  </a:cubicBezTo>
                  <a:close/>
                  <a:moveTo>
                    <a:pt x="551454" y="482111"/>
                  </a:moveTo>
                  <a:cubicBezTo>
                    <a:pt x="560344" y="494811"/>
                    <a:pt x="569234" y="508146"/>
                    <a:pt x="571139" y="525926"/>
                  </a:cubicBezTo>
                  <a:cubicBezTo>
                    <a:pt x="553359" y="529101"/>
                    <a:pt x="537484" y="532911"/>
                    <a:pt x="520339" y="539261"/>
                  </a:cubicBezTo>
                  <a:cubicBezTo>
                    <a:pt x="509544" y="525926"/>
                    <a:pt x="510179" y="511321"/>
                    <a:pt x="508274" y="496081"/>
                  </a:cubicBezTo>
                  <a:cubicBezTo>
                    <a:pt x="522244" y="487826"/>
                    <a:pt x="534309" y="480841"/>
                    <a:pt x="551454" y="482111"/>
                  </a:cubicBezTo>
                  <a:close/>
                  <a:moveTo>
                    <a:pt x="543199" y="456076"/>
                  </a:moveTo>
                  <a:cubicBezTo>
                    <a:pt x="529229" y="464331"/>
                    <a:pt x="516529" y="470681"/>
                    <a:pt x="501289" y="473856"/>
                  </a:cubicBezTo>
                  <a:cubicBezTo>
                    <a:pt x="492399" y="464966"/>
                    <a:pt x="489224" y="454171"/>
                    <a:pt x="487954" y="441471"/>
                  </a:cubicBezTo>
                  <a:cubicBezTo>
                    <a:pt x="500019" y="428771"/>
                    <a:pt x="515894" y="429406"/>
                    <a:pt x="531769" y="423056"/>
                  </a:cubicBezTo>
                  <a:cubicBezTo>
                    <a:pt x="536214" y="435756"/>
                    <a:pt x="539389" y="445281"/>
                    <a:pt x="543199" y="456076"/>
                  </a:cubicBezTo>
                  <a:close/>
                  <a:moveTo>
                    <a:pt x="481604" y="419246"/>
                  </a:moveTo>
                  <a:cubicBezTo>
                    <a:pt x="477794" y="409721"/>
                    <a:pt x="475254" y="403371"/>
                    <a:pt x="472714" y="396386"/>
                  </a:cubicBezTo>
                  <a:cubicBezTo>
                    <a:pt x="517799" y="362096"/>
                    <a:pt x="550184" y="405276"/>
                    <a:pt x="481604" y="419246"/>
                  </a:cubicBezTo>
                  <a:close/>
                  <a:moveTo>
                    <a:pt x="510179" y="353206"/>
                  </a:moveTo>
                  <a:cubicBezTo>
                    <a:pt x="496209" y="364636"/>
                    <a:pt x="480969" y="369081"/>
                    <a:pt x="458744" y="367811"/>
                  </a:cubicBezTo>
                  <a:cubicBezTo>
                    <a:pt x="455569" y="354476"/>
                    <a:pt x="453029" y="342411"/>
                    <a:pt x="449854" y="330346"/>
                  </a:cubicBezTo>
                  <a:cubicBezTo>
                    <a:pt x="462554" y="318916"/>
                    <a:pt x="475254" y="312566"/>
                    <a:pt x="493034" y="317011"/>
                  </a:cubicBezTo>
                  <a:cubicBezTo>
                    <a:pt x="500019" y="328441"/>
                    <a:pt x="505734" y="339871"/>
                    <a:pt x="510179" y="353206"/>
                  </a:cubicBezTo>
                  <a:close/>
                  <a:moveTo>
                    <a:pt x="484144" y="289706"/>
                  </a:moveTo>
                  <a:cubicBezTo>
                    <a:pt x="470174" y="295421"/>
                    <a:pt x="457474" y="303041"/>
                    <a:pt x="442234" y="304946"/>
                  </a:cubicBezTo>
                  <a:cubicBezTo>
                    <a:pt x="430804" y="295421"/>
                    <a:pt x="430169" y="282721"/>
                    <a:pt x="428899" y="271926"/>
                  </a:cubicBezTo>
                  <a:cubicBezTo>
                    <a:pt x="437789" y="259861"/>
                    <a:pt x="449219" y="264941"/>
                    <a:pt x="459379" y="264306"/>
                  </a:cubicBezTo>
                  <a:cubicBezTo>
                    <a:pt x="479699" y="259861"/>
                    <a:pt x="481604" y="270656"/>
                    <a:pt x="484144" y="289706"/>
                  </a:cubicBezTo>
                  <a:close/>
                  <a:moveTo>
                    <a:pt x="465729" y="238271"/>
                  </a:moveTo>
                  <a:cubicBezTo>
                    <a:pt x="451759" y="240811"/>
                    <a:pt x="439059" y="242716"/>
                    <a:pt x="424454" y="245256"/>
                  </a:cubicBezTo>
                  <a:cubicBezTo>
                    <a:pt x="416199" y="233191"/>
                    <a:pt x="410484" y="221761"/>
                    <a:pt x="413024" y="206521"/>
                  </a:cubicBezTo>
                  <a:cubicBezTo>
                    <a:pt x="423819" y="198266"/>
                    <a:pt x="437154" y="198901"/>
                    <a:pt x="451759" y="193186"/>
                  </a:cubicBezTo>
                  <a:cubicBezTo>
                    <a:pt x="460649" y="208426"/>
                    <a:pt x="465094" y="221761"/>
                    <a:pt x="465729" y="238271"/>
                  </a:cubicBezTo>
                  <a:close/>
                  <a:moveTo>
                    <a:pt x="443504" y="167786"/>
                  </a:moveTo>
                  <a:cubicBezTo>
                    <a:pt x="433979" y="181121"/>
                    <a:pt x="418739" y="181756"/>
                    <a:pt x="404769" y="183661"/>
                  </a:cubicBezTo>
                  <a:cubicBezTo>
                    <a:pt x="395244" y="175406"/>
                    <a:pt x="392069" y="165881"/>
                    <a:pt x="395244" y="152546"/>
                  </a:cubicBezTo>
                  <a:cubicBezTo>
                    <a:pt x="406039" y="149371"/>
                    <a:pt x="418104" y="145561"/>
                    <a:pt x="428899" y="142386"/>
                  </a:cubicBezTo>
                  <a:cubicBezTo>
                    <a:pt x="440964" y="147466"/>
                    <a:pt x="441599" y="157626"/>
                    <a:pt x="443504" y="16778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2" name="Google Shape;49;p2">
              <a:extLst>
                <a:ext uri="{FF2B5EF4-FFF2-40B4-BE49-F238E27FC236}">
                  <a16:creationId xmlns:a16="http://schemas.microsoft.com/office/drawing/2014/main" id="{772FC28F-55E1-4A85-85CE-186685CBF53B}"/>
                </a:ext>
              </a:extLst>
            </p:cNvPr>
            <p:cNvSpPr/>
            <p:nvPr/>
          </p:nvSpPr>
          <p:spPr>
            <a:xfrm>
              <a:off x="7317433" y="2956555"/>
              <a:ext cx="716315" cy="573888"/>
            </a:xfrm>
            <a:custGeom>
              <a:avLst/>
              <a:gdLst/>
              <a:ahLst/>
              <a:cxnLst/>
              <a:rect l="l" t="t" r="r" b="b"/>
              <a:pathLst>
                <a:path w="832925" h="667312" extrusionOk="0">
                  <a:moveTo>
                    <a:pt x="832654" y="510467"/>
                  </a:moveTo>
                  <a:cubicBezTo>
                    <a:pt x="829479" y="434902"/>
                    <a:pt x="811699" y="361242"/>
                    <a:pt x="802174" y="286312"/>
                  </a:cubicBezTo>
                  <a:cubicBezTo>
                    <a:pt x="772964" y="118672"/>
                    <a:pt x="808524" y="-22933"/>
                    <a:pt x="580559" y="3102"/>
                  </a:cubicBezTo>
                  <a:cubicBezTo>
                    <a:pt x="476419" y="-8963"/>
                    <a:pt x="405934" y="116132"/>
                    <a:pt x="355134" y="85652"/>
                  </a:cubicBezTo>
                  <a:cubicBezTo>
                    <a:pt x="259884" y="32312"/>
                    <a:pt x="139869" y="51362"/>
                    <a:pt x="38269" y="73587"/>
                  </a:cubicBezTo>
                  <a:cubicBezTo>
                    <a:pt x="-11261" y="84382"/>
                    <a:pt x="-2371" y="107242"/>
                    <a:pt x="8424" y="146612"/>
                  </a:cubicBezTo>
                  <a:cubicBezTo>
                    <a:pt x="29379" y="309172"/>
                    <a:pt x="48429" y="470462"/>
                    <a:pt x="82084" y="629847"/>
                  </a:cubicBezTo>
                  <a:cubicBezTo>
                    <a:pt x="83989" y="650802"/>
                    <a:pt x="107484" y="641277"/>
                    <a:pt x="120184" y="636197"/>
                  </a:cubicBezTo>
                  <a:cubicBezTo>
                    <a:pt x="129709" y="645722"/>
                    <a:pt x="124629" y="663502"/>
                    <a:pt x="143044" y="667312"/>
                  </a:cubicBezTo>
                  <a:cubicBezTo>
                    <a:pt x="237024" y="612067"/>
                    <a:pt x="358309" y="609527"/>
                    <a:pt x="463084" y="627942"/>
                  </a:cubicBezTo>
                  <a:cubicBezTo>
                    <a:pt x="553254" y="563807"/>
                    <a:pt x="668824" y="563172"/>
                    <a:pt x="774869" y="573967"/>
                  </a:cubicBezTo>
                  <a:cubicBezTo>
                    <a:pt x="792014" y="565712"/>
                    <a:pt x="786299" y="546027"/>
                    <a:pt x="793919" y="532692"/>
                  </a:cubicBezTo>
                  <a:cubicBezTo>
                    <a:pt x="810429" y="527612"/>
                    <a:pt x="835829" y="539677"/>
                    <a:pt x="832654" y="510467"/>
                  </a:cubicBezTo>
                  <a:close/>
                  <a:moveTo>
                    <a:pt x="377359" y="595557"/>
                  </a:moveTo>
                  <a:cubicBezTo>
                    <a:pt x="298619" y="600002"/>
                    <a:pt x="222419" y="601907"/>
                    <a:pt x="148759" y="633022"/>
                  </a:cubicBezTo>
                  <a:cubicBezTo>
                    <a:pt x="134789" y="583492"/>
                    <a:pt x="351959" y="558092"/>
                    <a:pt x="385614" y="586667"/>
                  </a:cubicBezTo>
                  <a:cubicBezTo>
                    <a:pt x="385614" y="594287"/>
                    <a:pt x="381804" y="595557"/>
                    <a:pt x="377359" y="595557"/>
                  </a:cubicBezTo>
                  <a:close/>
                  <a:moveTo>
                    <a:pt x="432604" y="585397"/>
                  </a:moveTo>
                  <a:cubicBezTo>
                    <a:pt x="332909" y="518722"/>
                    <a:pt x="209084" y="561267"/>
                    <a:pt x="107484" y="605717"/>
                  </a:cubicBezTo>
                  <a:cubicBezTo>
                    <a:pt x="60494" y="509832"/>
                    <a:pt x="77639" y="394897"/>
                    <a:pt x="47159" y="292662"/>
                  </a:cubicBezTo>
                  <a:cubicBezTo>
                    <a:pt x="51604" y="252022"/>
                    <a:pt x="2074" y="106607"/>
                    <a:pt x="45254" y="97082"/>
                  </a:cubicBezTo>
                  <a:cubicBezTo>
                    <a:pt x="143044" y="74857"/>
                    <a:pt x="338624" y="38027"/>
                    <a:pt x="385614" y="152962"/>
                  </a:cubicBezTo>
                  <a:cubicBezTo>
                    <a:pt x="410379" y="295837"/>
                    <a:pt x="436414" y="439347"/>
                    <a:pt x="432604" y="585397"/>
                  </a:cubicBezTo>
                  <a:close/>
                  <a:moveTo>
                    <a:pt x="766614" y="547297"/>
                  </a:moveTo>
                  <a:cubicBezTo>
                    <a:pt x="691049" y="546662"/>
                    <a:pt x="619294" y="547297"/>
                    <a:pt x="546269" y="561267"/>
                  </a:cubicBezTo>
                  <a:cubicBezTo>
                    <a:pt x="548809" y="521262"/>
                    <a:pt x="785664" y="490782"/>
                    <a:pt x="766614" y="547297"/>
                  </a:cubicBezTo>
                  <a:close/>
                  <a:moveTo>
                    <a:pt x="804714" y="505387"/>
                  </a:moveTo>
                  <a:cubicBezTo>
                    <a:pt x="673269" y="483162"/>
                    <a:pt x="569129" y="493322"/>
                    <a:pt x="464354" y="577777"/>
                  </a:cubicBezTo>
                  <a:cubicBezTo>
                    <a:pt x="442129" y="429187"/>
                    <a:pt x="440224" y="275517"/>
                    <a:pt x="403394" y="128197"/>
                  </a:cubicBezTo>
                  <a:cubicBezTo>
                    <a:pt x="464989" y="31677"/>
                    <a:pt x="617389" y="-10233"/>
                    <a:pt x="717084" y="45647"/>
                  </a:cubicBezTo>
                  <a:cubicBezTo>
                    <a:pt x="772964" y="92637"/>
                    <a:pt x="754549" y="188522"/>
                    <a:pt x="772329" y="255197"/>
                  </a:cubicBezTo>
                  <a:cubicBezTo>
                    <a:pt x="776774" y="340287"/>
                    <a:pt x="809159" y="420932"/>
                    <a:pt x="804714" y="505387"/>
                  </a:cubicBezTo>
                  <a:close/>
                  <a:moveTo>
                    <a:pt x="634534" y="306632"/>
                  </a:moveTo>
                  <a:cubicBezTo>
                    <a:pt x="633264" y="339652"/>
                    <a:pt x="643424" y="370132"/>
                    <a:pt x="639614" y="404422"/>
                  </a:cubicBezTo>
                  <a:cubicBezTo>
                    <a:pt x="447209" y="426012"/>
                    <a:pt x="456734" y="468557"/>
                    <a:pt x="644059" y="424107"/>
                  </a:cubicBezTo>
                  <a:cubicBezTo>
                    <a:pt x="648504" y="439347"/>
                    <a:pt x="652314" y="453317"/>
                    <a:pt x="656759" y="468557"/>
                  </a:cubicBezTo>
                  <a:cubicBezTo>
                    <a:pt x="692954" y="465382"/>
                    <a:pt x="738674" y="470462"/>
                    <a:pt x="767249" y="447602"/>
                  </a:cubicBezTo>
                  <a:cubicBezTo>
                    <a:pt x="737404" y="353622"/>
                    <a:pt x="781219" y="259007"/>
                    <a:pt x="634534" y="306632"/>
                  </a:cubicBezTo>
                  <a:close/>
                  <a:moveTo>
                    <a:pt x="675809" y="441887"/>
                  </a:moveTo>
                  <a:cubicBezTo>
                    <a:pt x="660569" y="405692"/>
                    <a:pt x="656759" y="376482"/>
                    <a:pt x="661839" y="327587"/>
                  </a:cubicBezTo>
                  <a:cubicBezTo>
                    <a:pt x="682159" y="317427"/>
                    <a:pt x="701844" y="319967"/>
                    <a:pt x="721529" y="322507"/>
                  </a:cubicBezTo>
                  <a:cubicBezTo>
                    <a:pt x="738039" y="356162"/>
                    <a:pt x="730419" y="395532"/>
                    <a:pt x="736134" y="433632"/>
                  </a:cubicBezTo>
                  <a:cubicBezTo>
                    <a:pt x="715814" y="436172"/>
                    <a:pt x="696129" y="443792"/>
                    <a:pt x="675809" y="441887"/>
                  </a:cubicBezTo>
                  <a:close/>
                  <a:moveTo>
                    <a:pt x="732959" y="166932"/>
                  </a:moveTo>
                  <a:cubicBezTo>
                    <a:pt x="737404" y="169472"/>
                    <a:pt x="744389" y="166932"/>
                    <a:pt x="745659" y="161217"/>
                  </a:cubicBezTo>
                  <a:cubicBezTo>
                    <a:pt x="744389" y="125657"/>
                    <a:pt x="672634" y="141532"/>
                    <a:pt x="657394" y="133912"/>
                  </a:cubicBezTo>
                  <a:cubicBezTo>
                    <a:pt x="623104" y="134547"/>
                    <a:pt x="419904" y="153597"/>
                    <a:pt x="476419" y="191697"/>
                  </a:cubicBezTo>
                  <a:cubicBezTo>
                    <a:pt x="556429" y="162487"/>
                    <a:pt x="649774" y="134547"/>
                    <a:pt x="732959" y="166932"/>
                  </a:cubicBezTo>
                  <a:close/>
                  <a:moveTo>
                    <a:pt x="726609" y="92002"/>
                  </a:moveTo>
                  <a:cubicBezTo>
                    <a:pt x="717719" y="29772"/>
                    <a:pt x="482134" y="92002"/>
                    <a:pt x="449114" y="126927"/>
                  </a:cubicBezTo>
                  <a:cubicBezTo>
                    <a:pt x="452924" y="132642"/>
                    <a:pt x="455464" y="137087"/>
                    <a:pt x="459274" y="143437"/>
                  </a:cubicBezTo>
                  <a:cubicBezTo>
                    <a:pt x="539284" y="94542"/>
                    <a:pt x="635169" y="79937"/>
                    <a:pt x="726609" y="92002"/>
                  </a:cubicBezTo>
                  <a:close/>
                  <a:moveTo>
                    <a:pt x="494199" y="248847"/>
                  </a:moveTo>
                  <a:cubicBezTo>
                    <a:pt x="562144" y="217097"/>
                    <a:pt x="643424" y="223447"/>
                    <a:pt x="716449" y="235512"/>
                  </a:cubicBezTo>
                  <a:cubicBezTo>
                    <a:pt x="743119" y="187887"/>
                    <a:pt x="480229" y="199317"/>
                    <a:pt x="478959" y="238687"/>
                  </a:cubicBezTo>
                  <a:cubicBezTo>
                    <a:pt x="478959" y="246942"/>
                    <a:pt x="487214" y="252657"/>
                    <a:pt x="494199" y="248847"/>
                  </a:cubicBezTo>
                  <a:close/>
                  <a:moveTo>
                    <a:pt x="528489" y="290122"/>
                  </a:moveTo>
                  <a:cubicBezTo>
                    <a:pt x="592624" y="271707"/>
                    <a:pt x="654854" y="280597"/>
                    <a:pt x="720259" y="272977"/>
                  </a:cubicBezTo>
                  <a:cubicBezTo>
                    <a:pt x="682159" y="245037"/>
                    <a:pt x="508804" y="252022"/>
                    <a:pt x="482769" y="285677"/>
                  </a:cubicBezTo>
                  <a:cubicBezTo>
                    <a:pt x="488484" y="303457"/>
                    <a:pt x="515154" y="290122"/>
                    <a:pt x="528489" y="290122"/>
                  </a:cubicBezTo>
                  <a:close/>
                  <a:moveTo>
                    <a:pt x="487214" y="344097"/>
                  </a:moveTo>
                  <a:cubicBezTo>
                    <a:pt x="524679" y="329492"/>
                    <a:pt x="568494" y="330762"/>
                    <a:pt x="602784" y="322507"/>
                  </a:cubicBezTo>
                  <a:cubicBezTo>
                    <a:pt x="610404" y="283772"/>
                    <a:pt x="438954" y="313617"/>
                    <a:pt x="487214" y="344097"/>
                  </a:cubicBezTo>
                  <a:close/>
                  <a:moveTo>
                    <a:pt x="570399" y="357432"/>
                  </a:moveTo>
                  <a:cubicBezTo>
                    <a:pt x="570399" y="356797"/>
                    <a:pt x="570399" y="356162"/>
                    <a:pt x="569764" y="355527"/>
                  </a:cubicBezTo>
                  <a:cubicBezTo>
                    <a:pt x="552619" y="361242"/>
                    <a:pt x="472609" y="361242"/>
                    <a:pt x="503089" y="389817"/>
                  </a:cubicBezTo>
                  <a:cubicBezTo>
                    <a:pt x="527219" y="389817"/>
                    <a:pt x="663744" y="368862"/>
                    <a:pt x="570399" y="357432"/>
                  </a:cubicBezTo>
                  <a:close/>
                  <a:moveTo>
                    <a:pt x="527219" y="465382"/>
                  </a:moveTo>
                  <a:cubicBezTo>
                    <a:pt x="531029" y="504752"/>
                    <a:pt x="577384" y="471097"/>
                    <a:pt x="599609" y="467287"/>
                  </a:cubicBezTo>
                  <a:cubicBezTo>
                    <a:pt x="643424" y="424742"/>
                    <a:pt x="545634" y="460937"/>
                    <a:pt x="527219" y="465382"/>
                  </a:cubicBezTo>
                  <a:close/>
                  <a:moveTo>
                    <a:pt x="80814" y="149152"/>
                  </a:moveTo>
                  <a:cubicBezTo>
                    <a:pt x="89069" y="207572"/>
                    <a:pt x="91609" y="268532"/>
                    <a:pt x="106849" y="325682"/>
                  </a:cubicBezTo>
                  <a:cubicBezTo>
                    <a:pt x="121454" y="349812"/>
                    <a:pt x="158284" y="325047"/>
                    <a:pt x="180509" y="323777"/>
                  </a:cubicBezTo>
                  <a:cubicBezTo>
                    <a:pt x="231944" y="314887"/>
                    <a:pt x="315129" y="299647"/>
                    <a:pt x="360849" y="323777"/>
                  </a:cubicBezTo>
                  <a:cubicBezTo>
                    <a:pt x="404029" y="299647"/>
                    <a:pt x="364024" y="247577"/>
                    <a:pt x="364024" y="210112"/>
                  </a:cubicBezTo>
                  <a:cubicBezTo>
                    <a:pt x="369104" y="76127"/>
                    <a:pt x="162729" y="123752"/>
                    <a:pt x="80814" y="149152"/>
                  </a:cubicBezTo>
                  <a:close/>
                  <a:moveTo>
                    <a:pt x="354499" y="290122"/>
                  </a:moveTo>
                  <a:cubicBezTo>
                    <a:pt x="277029" y="288852"/>
                    <a:pt x="202099" y="298377"/>
                    <a:pt x="125899" y="307902"/>
                  </a:cubicBezTo>
                  <a:cubicBezTo>
                    <a:pt x="118914" y="262817"/>
                    <a:pt x="111929" y="218367"/>
                    <a:pt x="104944" y="172647"/>
                  </a:cubicBezTo>
                  <a:cubicBezTo>
                    <a:pt x="172254" y="133277"/>
                    <a:pt x="262424" y="130102"/>
                    <a:pt x="332909" y="165662"/>
                  </a:cubicBezTo>
                  <a:cubicBezTo>
                    <a:pt x="350054" y="232337"/>
                    <a:pt x="357039" y="269802"/>
                    <a:pt x="354499" y="290122"/>
                  </a:cubicBezTo>
                  <a:close/>
                  <a:moveTo>
                    <a:pt x="227499" y="369497"/>
                  </a:moveTo>
                  <a:cubicBezTo>
                    <a:pt x="222419" y="351082"/>
                    <a:pt x="220514" y="348542"/>
                    <a:pt x="210989" y="347907"/>
                  </a:cubicBezTo>
                  <a:cubicBezTo>
                    <a:pt x="187494" y="351082"/>
                    <a:pt x="103039" y="349812"/>
                    <a:pt x="130344" y="388547"/>
                  </a:cubicBezTo>
                  <a:cubicBezTo>
                    <a:pt x="161459" y="381562"/>
                    <a:pt x="191304" y="365687"/>
                    <a:pt x="227499" y="369497"/>
                  </a:cubicBezTo>
                  <a:close/>
                  <a:moveTo>
                    <a:pt x="143679" y="431727"/>
                  </a:moveTo>
                  <a:cubicBezTo>
                    <a:pt x="177334" y="419662"/>
                    <a:pt x="207814" y="421567"/>
                    <a:pt x="243374" y="420297"/>
                  </a:cubicBezTo>
                  <a:cubicBezTo>
                    <a:pt x="233849" y="382832"/>
                    <a:pt x="99864" y="399342"/>
                    <a:pt x="143679" y="431727"/>
                  </a:cubicBezTo>
                  <a:close/>
                  <a:moveTo>
                    <a:pt x="288459" y="401882"/>
                  </a:moveTo>
                  <a:cubicBezTo>
                    <a:pt x="315764" y="406327"/>
                    <a:pt x="342434" y="389817"/>
                    <a:pt x="369739" y="399977"/>
                  </a:cubicBezTo>
                  <a:cubicBezTo>
                    <a:pt x="371644" y="400612"/>
                    <a:pt x="375454" y="395532"/>
                    <a:pt x="379899" y="392357"/>
                  </a:cubicBezTo>
                  <a:cubicBezTo>
                    <a:pt x="375454" y="363147"/>
                    <a:pt x="253534" y="375212"/>
                    <a:pt x="288459" y="401882"/>
                  </a:cubicBezTo>
                  <a:close/>
                  <a:moveTo>
                    <a:pt x="207179" y="439982"/>
                  </a:moveTo>
                  <a:cubicBezTo>
                    <a:pt x="207179" y="440617"/>
                    <a:pt x="207179" y="440617"/>
                    <a:pt x="207179" y="441252"/>
                  </a:cubicBezTo>
                  <a:cubicBezTo>
                    <a:pt x="190034" y="445697"/>
                    <a:pt x="151934" y="438077"/>
                    <a:pt x="148759" y="460302"/>
                  </a:cubicBezTo>
                  <a:cubicBezTo>
                    <a:pt x="155109" y="492687"/>
                    <a:pt x="295444" y="438712"/>
                    <a:pt x="207179" y="439982"/>
                  </a:cubicBezTo>
                  <a:close/>
                  <a:moveTo>
                    <a:pt x="297984" y="448237"/>
                  </a:moveTo>
                  <a:cubicBezTo>
                    <a:pt x="320844" y="443792"/>
                    <a:pt x="368469" y="461572"/>
                    <a:pt x="371009" y="427282"/>
                  </a:cubicBezTo>
                  <a:cubicBezTo>
                    <a:pt x="350054" y="426012"/>
                    <a:pt x="270044" y="410772"/>
                    <a:pt x="297984" y="448237"/>
                  </a:cubicBezTo>
                  <a:close/>
                  <a:moveTo>
                    <a:pt x="291634" y="359972"/>
                  </a:moveTo>
                  <a:cubicBezTo>
                    <a:pt x="311954" y="347907"/>
                    <a:pt x="353864" y="361242"/>
                    <a:pt x="362754" y="339652"/>
                  </a:cubicBezTo>
                  <a:cubicBezTo>
                    <a:pt x="350054" y="319332"/>
                    <a:pt x="244009" y="335207"/>
                    <a:pt x="291634" y="359972"/>
                  </a:cubicBezTo>
                  <a:close/>
                  <a:moveTo>
                    <a:pt x="177969" y="519357"/>
                  </a:moveTo>
                  <a:cubicBezTo>
                    <a:pt x="199559" y="512372"/>
                    <a:pt x="228134" y="521897"/>
                    <a:pt x="239564" y="497132"/>
                  </a:cubicBezTo>
                  <a:cubicBezTo>
                    <a:pt x="217974" y="490147"/>
                    <a:pt x="144314" y="494592"/>
                    <a:pt x="177969" y="519357"/>
                  </a:cubicBezTo>
                  <a:close/>
                  <a:moveTo>
                    <a:pt x="332274" y="485067"/>
                  </a:moveTo>
                  <a:cubicBezTo>
                    <a:pt x="311954" y="485702"/>
                    <a:pt x="265599" y="490782"/>
                    <a:pt x="301794" y="508562"/>
                  </a:cubicBezTo>
                  <a:cubicBezTo>
                    <a:pt x="326559" y="509832"/>
                    <a:pt x="396409" y="498402"/>
                    <a:pt x="332274" y="485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3" name="Google Shape;50;p2">
              <a:extLst>
                <a:ext uri="{FF2B5EF4-FFF2-40B4-BE49-F238E27FC236}">
                  <a16:creationId xmlns:a16="http://schemas.microsoft.com/office/drawing/2014/main" id="{708C5B91-1264-4D6C-A190-BC6FAC6C274A}"/>
                </a:ext>
              </a:extLst>
            </p:cNvPr>
            <p:cNvSpPr/>
            <p:nvPr/>
          </p:nvSpPr>
          <p:spPr>
            <a:xfrm>
              <a:off x="8750637" y="1716146"/>
              <a:ext cx="454206" cy="406096"/>
            </a:xfrm>
            <a:custGeom>
              <a:avLst/>
              <a:gdLst/>
              <a:ahLst/>
              <a:cxnLst/>
              <a:rect l="l" t="t" r="r" b="b"/>
              <a:pathLst>
                <a:path w="528147" h="472205" extrusionOk="0">
                  <a:moveTo>
                    <a:pt x="395469" y="177165"/>
                  </a:moveTo>
                  <a:cubicBezTo>
                    <a:pt x="443094" y="36830"/>
                    <a:pt x="381499" y="-53340"/>
                    <a:pt x="264659" y="86360"/>
                  </a:cubicBezTo>
                  <a:cubicBezTo>
                    <a:pt x="239894" y="41275"/>
                    <a:pt x="195444" y="0"/>
                    <a:pt x="143374" y="0"/>
                  </a:cubicBezTo>
                  <a:cubicBezTo>
                    <a:pt x="65269" y="15240"/>
                    <a:pt x="123054" y="139065"/>
                    <a:pt x="131944" y="187325"/>
                  </a:cubicBezTo>
                  <a:cubicBezTo>
                    <a:pt x="76064" y="179070"/>
                    <a:pt x="-40776" y="242570"/>
                    <a:pt x="14469" y="300990"/>
                  </a:cubicBezTo>
                  <a:cubicBezTo>
                    <a:pt x="41774" y="327660"/>
                    <a:pt x="81144" y="321945"/>
                    <a:pt x="109719" y="344170"/>
                  </a:cubicBezTo>
                  <a:cubicBezTo>
                    <a:pt x="102734" y="370840"/>
                    <a:pt x="109084" y="399415"/>
                    <a:pt x="92574" y="423545"/>
                  </a:cubicBezTo>
                  <a:cubicBezTo>
                    <a:pt x="86859" y="433070"/>
                    <a:pt x="90034" y="441960"/>
                    <a:pt x="95749" y="450215"/>
                  </a:cubicBezTo>
                  <a:cubicBezTo>
                    <a:pt x="112259" y="475615"/>
                    <a:pt x="147819" y="474345"/>
                    <a:pt x="159249" y="450850"/>
                  </a:cubicBezTo>
                  <a:cubicBezTo>
                    <a:pt x="175759" y="424180"/>
                    <a:pt x="207509" y="409575"/>
                    <a:pt x="235449" y="397510"/>
                  </a:cubicBezTo>
                  <a:cubicBezTo>
                    <a:pt x="289424" y="513715"/>
                    <a:pt x="403724" y="490220"/>
                    <a:pt x="379594" y="355600"/>
                  </a:cubicBezTo>
                  <a:cubicBezTo>
                    <a:pt x="470399" y="330200"/>
                    <a:pt x="493259" y="345440"/>
                    <a:pt x="525009" y="245110"/>
                  </a:cubicBezTo>
                  <a:cubicBezTo>
                    <a:pt x="549139" y="182880"/>
                    <a:pt x="427219" y="204470"/>
                    <a:pt x="395469" y="177165"/>
                  </a:cubicBezTo>
                  <a:close/>
                  <a:moveTo>
                    <a:pt x="392294" y="59055"/>
                  </a:moveTo>
                  <a:cubicBezTo>
                    <a:pt x="393564" y="106680"/>
                    <a:pt x="391659" y="133985"/>
                    <a:pt x="363719" y="175260"/>
                  </a:cubicBezTo>
                  <a:cubicBezTo>
                    <a:pt x="314824" y="185420"/>
                    <a:pt x="309744" y="137795"/>
                    <a:pt x="290059" y="103505"/>
                  </a:cubicBezTo>
                  <a:cubicBezTo>
                    <a:pt x="316094" y="73025"/>
                    <a:pt x="348479" y="12065"/>
                    <a:pt x="392294" y="59055"/>
                  </a:cubicBezTo>
                  <a:close/>
                  <a:moveTo>
                    <a:pt x="347209" y="325755"/>
                  </a:moveTo>
                  <a:cubicBezTo>
                    <a:pt x="331969" y="330835"/>
                    <a:pt x="317999" y="330200"/>
                    <a:pt x="298314" y="327025"/>
                  </a:cubicBezTo>
                  <a:cubicBezTo>
                    <a:pt x="311649" y="308610"/>
                    <a:pt x="318634" y="292100"/>
                    <a:pt x="333239" y="278130"/>
                  </a:cubicBezTo>
                  <a:cubicBezTo>
                    <a:pt x="345304" y="292735"/>
                    <a:pt x="349749" y="307975"/>
                    <a:pt x="347209" y="325755"/>
                  </a:cubicBezTo>
                  <a:close/>
                  <a:moveTo>
                    <a:pt x="271009" y="130175"/>
                  </a:moveTo>
                  <a:cubicBezTo>
                    <a:pt x="287519" y="140970"/>
                    <a:pt x="288789" y="144145"/>
                    <a:pt x="293234" y="172720"/>
                  </a:cubicBezTo>
                  <a:cubicBezTo>
                    <a:pt x="277359" y="178435"/>
                    <a:pt x="262119" y="180975"/>
                    <a:pt x="244339" y="174625"/>
                  </a:cubicBezTo>
                  <a:cubicBezTo>
                    <a:pt x="247514" y="155575"/>
                    <a:pt x="259579" y="142875"/>
                    <a:pt x="271009" y="130175"/>
                  </a:cubicBezTo>
                  <a:close/>
                  <a:moveTo>
                    <a:pt x="131309" y="77470"/>
                  </a:moveTo>
                  <a:cubicBezTo>
                    <a:pt x="173854" y="74930"/>
                    <a:pt x="176394" y="73025"/>
                    <a:pt x="187189" y="26670"/>
                  </a:cubicBezTo>
                  <a:cubicBezTo>
                    <a:pt x="208779" y="61595"/>
                    <a:pt x="240529" y="69215"/>
                    <a:pt x="250689" y="109220"/>
                  </a:cubicBezTo>
                  <a:cubicBezTo>
                    <a:pt x="229099" y="140970"/>
                    <a:pt x="209414" y="200025"/>
                    <a:pt x="161154" y="180975"/>
                  </a:cubicBezTo>
                  <a:cubicBezTo>
                    <a:pt x="144644" y="148590"/>
                    <a:pt x="124324" y="116840"/>
                    <a:pt x="131309" y="77470"/>
                  </a:cubicBezTo>
                  <a:close/>
                  <a:moveTo>
                    <a:pt x="191634" y="321310"/>
                  </a:moveTo>
                  <a:cubicBezTo>
                    <a:pt x="176394" y="325755"/>
                    <a:pt x="165599" y="326390"/>
                    <a:pt x="154169" y="320040"/>
                  </a:cubicBezTo>
                  <a:cubicBezTo>
                    <a:pt x="156074" y="305435"/>
                    <a:pt x="160519" y="293370"/>
                    <a:pt x="172584" y="283210"/>
                  </a:cubicBezTo>
                  <a:cubicBezTo>
                    <a:pt x="185284" y="292735"/>
                    <a:pt x="185919" y="306070"/>
                    <a:pt x="191634" y="321310"/>
                  </a:cubicBezTo>
                  <a:close/>
                  <a:moveTo>
                    <a:pt x="23359" y="274955"/>
                  </a:moveTo>
                  <a:cubicBezTo>
                    <a:pt x="39869" y="215265"/>
                    <a:pt x="92574" y="210185"/>
                    <a:pt x="145279" y="213995"/>
                  </a:cubicBezTo>
                  <a:cubicBezTo>
                    <a:pt x="175759" y="248285"/>
                    <a:pt x="140834" y="281305"/>
                    <a:pt x="124959" y="314960"/>
                  </a:cubicBezTo>
                  <a:cubicBezTo>
                    <a:pt x="83049" y="313690"/>
                    <a:pt x="43679" y="297815"/>
                    <a:pt x="23359" y="274955"/>
                  </a:cubicBezTo>
                  <a:close/>
                  <a:moveTo>
                    <a:pt x="163059" y="412115"/>
                  </a:moveTo>
                  <a:cubicBezTo>
                    <a:pt x="152264" y="408940"/>
                    <a:pt x="142739" y="405765"/>
                    <a:pt x="131944" y="402590"/>
                  </a:cubicBezTo>
                  <a:cubicBezTo>
                    <a:pt x="125594" y="382905"/>
                    <a:pt x="126229" y="365125"/>
                    <a:pt x="143374" y="347345"/>
                  </a:cubicBezTo>
                  <a:cubicBezTo>
                    <a:pt x="170044" y="349250"/>
                    <a:pt x="208144" y="337185"/>
                    <a:pt x="214494" y="377190"/>
                  </a:cubicBezTo>
                  <a:cubicBezTo>
                    <a:pt x="196714" y="389255"/>
                    <a:pt x="180204" y="400685"/>
                    <a:pt x="163059" y="412115"/>
                  </a:cubicBezTo>
                  <a:close/>
                  <a:moveTo>
                    <a:pt x="225289" y="327025"/>
                  </a:moveTo>
                  <a:cubicBezTo>
                    <a:pt x="170679" y="248285"/>
                    <a:pt x="196079" y="189230"/>
                    <a:pt x="295139" y="198120"/>
                  </a:cubicBezTo>
                  <a:cubicBezTo>
                    <a:pt x="326254" y="193040"/>
                    <a:pt x="331969" y="241935"/>
                    <a:pt x="314824" y="260350"/>
                  </a:cubicBezTo>
                  <a:cubicBezTo>
                    <a:pt x="285614" y="290830"/>
                    <a:pt x="279264" y="341630"/>
                    <a:pt x="225289" y="327025"/>
                  </a:cubicBezTo>
                  <a:close/>
                  <a:moveTo>
                    <a:pt x="253864" y="379095"/>
                  </a:moveTo>
                  <a:cubicBezTo>
                    <a:pt x="271644" y="343535"/>
                    <a:pt x="316729" y="349885"/>
                    <a:pt x="350384" y="355600"/>
                  </a:cubicBezTo>
                  <a:cubicBezTo>
                    <a:pt x="385309" y="470535"/>
                    <a:pt x="287519" y="482600"/>
                    <a:pt x="253864" y="379095"/>
                  </a:cubicBezTo>
                  <a:close/>
                  <a:moveTo>
                    <a:pt x="377689" y="327025"/>
                  </a:moveTo>
                  <a:cubicBezTo>
                    <a:pt x="365624" y="281305"/>
                    <a:pt x="337684" y="234950"/>
                    <a:pt x="383404" y="201295"/>
                  </a:cubicBezTo>
                  <a:cubicBezTo>
                    <a:pt x="408804" y="207645"/>
                    <a:pt x="434204" y="213360"/>
                    <a:pt x="460239" y="219710"/>
                  </a:cubicBezTo>
                  <a:cubicBezTo>
                    <a:pt x="462779" y="241300"/>
                    <a:pt x="469764" y="257175"/>
                    <a:pt x="488179" y="269875"/>
                  </a:cubicBezTo>
                  <a:cubicBezTo>
                    <a:pt x="492624" y="324485"/>
                    <a:pt x="417059" y="320675"/>
                    <a:pt x="377689" y="327025"/>
                  </a:cubicBezTo>
                  <a:close/>
                  <a:moveTo>
                    <a:pt x="257039" y="222250"/>
                  </a:moveTo>
                  <a:cubicBezTo>
                    <a:pt x="196714" y="216535"/>
                    <a:pt x="185284" y="288290"/>
                    <a:pt x="248149" y="290830"/>
                  </a:cubicBezTo>
                  <a:cubicBezTo>
                    <a:pt x="289424" y="291465"/>
                    <a:pt x="307204" y="229235"/>
                    <a:pt x="257039" y="222250"/>
                  </a:cubicBezTo>
                  <a:close/>
                  <a:moveTo>
                    <a:pt x="243069" y="266700"/>
                  </a:moveTo>
                  <a:cubicBezTo>
                    <a:pt x="215764" y="264795"/>
                    <a:pt x="229099" y="242570"/>
                    <a:pt x="248149" y="240030"/>
                  </a:cubicBezTo>
                  <a:cubicBezTo>
                    <a:pt x="272279" y="237490"/>
                    <a:pt x="262119" y="269240"/>
                    <a:pt x="243069" y="26670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4" name="Google Shape;51;p2">
              <a:extLst>
                <a:ext uri="{FF2B5EF4-FFF2-40B4-BE49-F238E27FC236}">
                  <a16:creationId xmlns:a16="http://schemas.microsoft.com/office/drawing/2014/main" id="{EB842972-F3A9-4119-BEBC-00CE4D3660D6}"/>
                </a:ext>
              </a:extLst>
            </p:cNvPr>
            <p:cNvSpPr/>
            <p:nvPr/>
          </p:nvSpPr>
          <p:spPr>
            <a:xfrm rot="-2424156">
              <a:off x="2052510" y="-106317"/>
              <a:ext cx="373867" cy="493313"/>
            </a:xfrm>
            <a:custGeom>
              <a:avLst/>
              <a:gdLst/>
              <a:ahLst/>
              <a:cxnLst/>
              <a:rect l="l" t="t" r="r" b="b"/>
              <a:pathLst>
                <a:path w="434661" h="573530" extrusionOk="0">
                  <a:moveTo>
                    <a:pt x="430380" y="417373"/>
                  </a:moveTo>
                  <a:cubicBezTo>
                    <a:pt x="427840" y="354508"/>
                    <a:pt x="363705" y="334823"/>
                    <a:pt x="311635" y="329743"/>
                  </a:cubicBezTo>
                  <a:cubicBezTo>
                    <a:pt x="264010" y="315138"/>
                    <a:pt x="297665" y="236398"/>
                    <a:pt x="288775" y="197028"/>
                  </a:cubicBezTo>
                  <a:cubicBezTo>
                    <a:pt x="290680" y="118923"/>
                    <a:pt x="325605" y="15418"/>
                    <a:pt x="217655" y="178"/>
                  </a:cubicBezTo>
                  <a:cubicBezTo>
                    <a:pt x="211305" y="-1092"/>
                    <a:pt x="199875" y="4623"/>
                    <a:pt x="202415" y="11608"/>
                  </a:cubicBezTo>
                  <a:cubicBezTo>
                    <a:pt x="207495" y="87808"/>
                    <a:pt x="223370" y="169088"/>
                    <a:pt x="197335" y="242748"/>
                  </a:cubicBezTo>
                  <a:cubicBezTo>
                    <a:pt x="158600" y="220523"/>
                    <a:pt x="52555" y="59868"/>
                    <a:pt x="24615" y="87173"/>
                  </a:cubicBezTo>
                  <a:cubicBezTo>
                    <a:pt x="-68095" y="172263"/>
                    <a:pt x="127485" y="297993"/>
                    <a:pt x="175745" y="366573"/>
                  </a:cubicBezTo>
                  <a:cubicBezTo>
                    <a:pt x="205590" y="403403"/>
                    <a:pt x="41760" y="420548"/>
                    <a:pt x="141455" y="548818"/>
                  </a:cubicBezTo>
                  <a:cubicBezTo>
                    <a:pt x="221465" y="630733"/>
                    <a:pt x="298935" y="488493"/>
                    <a:pt x="240515" y="419913"/>
                  </a:cubicBezTo>
                  <a:cubicBezTo>
                    <a:pt x="234165" y="409753"/>
                    <a:pt x="241150" y="384353"/>
                    <a:pt x="256390" y="395148"/>
                  </a:cubicBezTo>
                  <a:cubicBezTo>
                    <a:pt x="288775" y="436423"/>
                    <a:pt x="313540" y="498653"/>
                    <a:pt x="379580" y="489128"/>
                  </a:cubicBezTo>
                  <a:cubicBezTo>
                    <a:pt x="412600" y="482778"/>
                    <a:pt x="446890" y="451028"/>
                    <a:pt x="430380" y="417373"/>
                  </a:cubicBezTo>
                  <a:close/>
                  <a:moveTo>
                    <a:pt x="227180" y="242748"/>
                  </a:moveTo>
                  <a:cubicBezTo>
                    <a:pt x="237975" y="171628"/>
                    <a:pt x="223370" y="100508"/>
                    <a:pt x="232260" y="30023"/>
                  </a:cubicBezTo>
                  <a:cubicBezTo>
                    <a:pt x="277980" y="26213"/>
                    <a:pt x="280520" y="81458"/>
                    <a:pt x="275440" y="113843"/>
                  </a:cubicBezTo>
                  <a:cubicBezTo>
                    <a:pt x="264645" y="171628"/>
                    <a:pt x="276075" y="233858"/>
                    <a:pt x="262105" y="290373"/>
                  </a:cubicBezTo>
                  <a:cubicBezTo>
                    <a:pt x="234800" y="280848"/>
                    <a:pt x="224640" y="268148"/>
                    <a:pt x="227180" y="242748"/>
                  </a:cubicBezTo>
                  <a:close/>
                  <a:moveTo>
                    <a:pt x="152885" y="518338"/>
                  </a:moveTo>
                  <a:cubicBezTo>
                    <a:pt x="152885" y="518338"/>
                    <a:pt x="152885" y="517703"/>
                    <a:pt x="152250" y="517703"/>
                  </a:cubicBezTo>
                  <a:cubicBezTo>
                    <a:pt x="95735" y="500558"/>
                    <a:pt x="151615" y="386258"/>
                    <a:pt x="202415" y="423088"/>
                  </a:cubicBezTo>
                  <a:cubicBezTo>
                    <a:pt x="199240" y="431978"/>
                    <a:pt x="190985" y="433883"/>
                    <a:pt x="182730" y="436423"/>
                  </a:cubicBezTo>
                  <a:cubicBezTo>
                    <a:pt x="152885" y="442773"/>
                    <a:pt x="133835" y="484683"/>
                    <a:pt x="152885" y="518338"/>
                  </a:cubicBezTo>
                  <a:cubicBezTo>
                    <a:pt x="152885" y="518338"/>
                    <a:pt x="152885" y="518338"/>
                    <a:pt x="152885" y="518338"/>
                  </a:cubicBezTo>
                  <a:close/>
                  <a:moveTo>
                    <a:pt x="211305" y="402133"/>
                  </a:moveTo>
                  <a:cubicBezTo>
                    <a:pt x="200510" y="403403"/>
                    <a:pt x="196065" y="378003"/>
                    <a:pt x="209400" y="376733"/>
                  </a:cubicBezTo>
                  <a:cubicBezTo>
                    <a:pt x="225910" y="374828"/>
                    <a:pt x="228450" y="402133"/>
                    <a:pt x="211305" y="402133"/>
                  </a:cubicBezTo>
                  <a:close/>
                  <a:moveTo>
                    <a:pt x="235435" y="458648"/>
                  </a:moveTo>
                  <a:cubicBezTo>
                    <a:pt x="227180" y="451663"/>
                    <a:pt x="220830" y="444043"/>
                    <a:pt x="220195" y="433248"/>
                  </a:cubicBezTo>
                  <a:cubicBezTo>
                    <a:pt x="237340" y="439598"/>
                    <a:pt x="237340" y="439598"/>
                    <a:pt x="235435" y="458648"/>
                  </a:cubicBezTo>
                  <a:close/>
                  <a:moveTo>
                    <a:pt x="177015" y="545008"/>
                  </a:moveTo>
                  <a:cubicBezTo>
                    <a:pt x="180825" y="545008"/>
                    <a:pt x="184000" y="545643"/>
                    <a:pt x="188445" y="545643"/>
                  </a:cubicBezTo>
                  <a:cubicBezTo>
                    <a:pt x="187175" y="555168"/>
                    <a:pt x="175110" y="553263"/>
                    <a:pt x="177015" y="545008"/>
                  </a:cubicBezTo>
                  <a:close/>
                  <a:moveTo>
                    <a:pt x="164950" y="510718"/>
                  </a:moveTo>
                  <a:cubicBezTo>
                    <a:pt x="148440" y="469443"/>
                    <a:pt x="209400" y="428803"/>
                    <a:pt x="222735" y="484048"/>
                  </a:cubicBezTo>
                  <a:cubicBezTo>
                    <a:pt x="217020" y="511988"/>
                    <a:pt x="186540" y="543738"/>
                    <a:pt x="164950" y="510718"/>
                  </a:cubicBezTo>
                  <a:close/>
                  <a:moveTo>
                    <a:pt x="241150" y="477698"/>
                  </a:moveTo>
                  <a:cubicBezTo>
                    <a:pt x="247500" y="493573"/>
                    <a:pt x="240515" y="504368"/>
                    <a:pt x="241785" y="515163"/>
                  </a:cubicBezTo>
                  <a:cubicBezTo>
                    <a:pt x="240515" y="504368"/>
                    <a:pt x="236070" y="493573"/>
                    <a:pt x="241150" y="477698"/>
                  </a:cubicBezTo>
                  <a:close/>
                  <a:moveTo>
                    <a:pt x="242420" y="515163"/>
                  </a:moveTo>
                  <a:cubicBezTo>
                    <a:pt x="237975" y="520878"/>
                    <a:pt x="233530" y="526593"/>
                    <a:pt x="228450" y="532943"/>
                  </a:cubicBezTo>
                  <a:cubicBezTo>
                    <a:pt x="229085" y="513893"/>
                    <a:pt x="229085" y="513893"/>
                    <a:pt x="242420" y="515163"/>
                  </a:cubicBezTo>
                  <a:close/>
                  <a:moveTo>
                    <a:pt x="27155" y="113208"/>
                  </a:moveTo>
                  <a:cubicBezTo>
                    <a:pt x="65890" y="91618"/>
                    <a:pt x="171300" y="284658"/>
                    <a:pt x="220195" y="293548"/>
                  </a:cubicBezTo>
                  <a:lnTo>
                    <a:pt x="219560" y="300533"/>
                  </a:lnTo>
                  <a:cubicBezTo>
                    <a:pt x="140185" y="304978"/>
                    <a:pt x="221465" y="384353"/>
                    <a:pt x="237340" y="308788"/>
                  </a:cubicBezTo>
                  <a:cubicBezTo>
                    <a:pt x="257025" y="318313"/>
                    <a:pt x="270995" y="334188"/>
                    <a:pt x="287505" y="345618"/>
                  </a:cubicBezTo>
                  <a:cubicBezTo>
                    <a:pt x="250675" y="449123"/>
                    <a:pt x="-15390" y="171628"/>
                    <a:pt x="27155" y="113208"/>
                  </a:cubicBezTo>
                  <a:close/>
                  <a:moveTo>
                    <a:pt x="361165" y="474523"/>
                  </a:moveTo>
                  <a:cubicBezTo>
                    <a:pt x="306555" y="467538"/>
                    <a:pt x="248770" y="360858"/>
                    <a:pt x="328780" y="350063"/>
                  </a:cubicBezTo>
                  <a:cubicBezTo>
                    <a:pt x="400535" y="349428"/>
                    <a:pt x="460860" y="469443"/>
                    <a:pt x="361165" y="474523"/>
                  </a:cubicBezTo>
                  <a:close/>
                  <a:moveTo>
                    <a:pt x="305285" y="380543"/>
                  </a:moveTo>
                  <a:cubicBezTo>
                    <a:pt x="314810" y="401498"/>
                    <a:pt x="324970" y="421818"/>
                    <a:pt x="340845" y="439598"/>
                  </a:cubicBezTo>
                  <a:cubicBezTo>
                    <a:pt x="368785" y="464363"/>
                    <a:pt x="409425" y="441503"/>
                    <a:pt x="387835" y="405308"/>
                  </a:cubicBezTo>
                  <a:cubicBezTo>
                    <a:pt x="365610" y="382448"/>
                    <a:pt x="336400" y="346888"/>
                    <a:pt x="305285" y="380543"/>
                  </a:cubicBezTo>
                  <a:close/>
                  <a:moveTo>
                    <a:pt x="368785" y="429438"/>
                  </a:moveTo>
                  <a:cubicBezTo>
                    <a:pt x="350370" y="433248"/>
                    <a:pt x="342115" y="409118"/>
                    <a:pt x="336400" y="390068"/>
                  </a:cubicBezTo>
                  <a:cubicBezTo>
                    <a:pt x="355450" y="395148"/>
                    <a:pt x="378310" y="411658"/>
                    <a:pt x="368785" y="4294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5" name="Google Shape;52;p2">
              <a:extLst>
                <a:ext uri="{FF2B5EF4-FFF2-40B4-BE49-F238E27FC236}">
                  <a16:creationId xmlns:a16="http://schemas.microsoft.com/office/drawing/2014/main" id="{E0E7B5CB-3D65-4882-B5EF-91D6FB545DD2}"/>
                </a:ext>
              </a:extLst>
            </p:cNvPr>
            <p:cNvSpPr/>
            <p:nvPr/>
          </p:nvSpPr>
          <p:spPr>
            <a:xfrm>
              <a:off x="5960437" y="3855732"/>
              <a:ext cx="712864" cy="419317"/>
            </a:xfrm>
            <a:custGeom>
              <a:avLst/>
              <a:gdLst/>
              <a:ahLst/>
              <a:cxnLst/>
              <a:rect l="l" t="t" r="r" b="b"/>
              <a:pathLst>
                <a:path w="828912" h="487578" extrusionOk="0">
                  <a:moveTo>
                    <a:pt x="827267" y="15774"/>
                  </a:moveTo>
                  <a:cubicBezTo>
                    <a:pt x="786627" y="19584"/>
                    <a:pt x="770117" y="89434"/>
                    <a:pt x="721857" y="88164"/>
                  </a:cubicBezTo>
                  <a:cubicBezTo>
                    <a:pt x="653277" y="104674"/>
                    <a:pt x="606287" y="35459"/>
                    <a:pt x="552947" y="2438"/>
                  </a:cubicBezTo>
                  <a:cubicBezTo>
                    <a:pt x="500877" y="-14706"/>
                    <a:pt x="457697" y="63399"/>
                    <a:pt x="413882" y="85624"/>
                  </a:cubicBezTo>
                  <a:cubicBezTo>
                    <a:pt x="335142" y="62764"/>
                    <a:pt x="264657" y="16409"/>
                    <a:pt x="182107" y="6884"/>
                  </a:cubicBezTo>
                  <a:cubicBezTo>
                    <a:pt x="13832" y="196114"/>
                    <a:pt x="114797" y="109119"/>
                    <a:pt x="77332" y="279934"/>
                  </a:cubicBezTo>
                  <a:cubicBezTo>
                    <a:pt x="66537" y="291999"/>
                    <a:pt x="-29983" y="332004"/>
                    <a:pt x="9387" y="343434"/>
                  </a:cubicBezTo>
                  <a:cubicBezTo>
                    <a:pt x="50662" y="334544"/>
                    <a:pt x="84952" y="279934"/>
                    <a:pt x="129402" y="297079"/>
                  </a:cubicBezTo>
                  <a:cubicBezTo>
                    <a:pt x="176392" y="312319"/>
                    <a:pt x="222747" y="330099"/>
                    <a:pt x="265292" y="356134"/>
                  </a:cubicBezTo>
                  <a:cubicBezTo>
                    <a:pt x="276087" y="364389"/>
                    <a:pt x="284977" y="365024"/>
                    <a:pt x="293867" y="356134"/>
                  </a:cubicBezTo>
                  <a:cubicBezTo>
                    <a:pt x="393562" y="278029"/>
                    <a:pt x="442457" y="290094"/>
                    <a:pt x="533897" y="372644"/>
                  </a:cubicBezTo>
                  <a:cubicBezTo>
                    <a:pt x="545962" y="407569"/>
                    <a:pt x="526277" y="473609"/>
                    <a:pt x="568187" y="487579"/>
                  </a:cubicBezTo>
                  <a:cubicBezTo>
                    <a:pt x="606922" y="460909"/>
                    <a:pt x="664707" y="478054"/>
                    <a:pt x="703442" y="453289"/>
                  </a:cubicBezTo>
                  <a:cubicBezTo>
                    <a:pt x="697092" y="439954"/>
                    <a:pt x="694552" y="438049"/>
                    <a:pt x="685662" y="441224"/>
                  </a:cubicBezTo>
                  <a:cubicBezTo>
                    <a:pt x="647562" y="453924"/>
                    <a:pt x="608192" y="451384"/>
                    <a:pt x="565647" y="457099"/>
                  </a:cubicBezTo>
                  <a:cubicBezTo>
                    <a:pt x="530722" y="351054"/>
                    <a:pt x="638037" y="335179"/>
                    <a:pt x="681852" y="264059"/>
                  </a:cubicBezTo>
                  <a:cubicBezTo>
                    <a:pt x="669152" y="215164"/>
                    <a:pt x="663437" y="157379"/>
                    <a:pt x="683122" y="109754"/>
                  </a:cubicBezTo>
                  <a:cubicBezTo>
                    <a:pt x="714237" y="105309"/>
                    <a:pt x="751067" y="116104"/>
                    <a:pt x="774562" y="91339"/>
                  </a:cubicBezTo>
                  <a:cubicBezTo>
                    <a:pt x="787262" y="69114"/>
                    <a:pt x="838698" y="42444"/>
                    <a:pt x="827267" y="15774"/>
                  </a:cubicBezTo>
                  <a:close/>
                  <a:moveTo>
                    <a:pt x="291962" y="332004"/>
                  </a:moveTo>
                  <a:cubicBezTo>
                    <a:pt x="236082" y="338354"/>
                    <a:pt x="173217" y="285649"/>
                    <a:pt x="115432" y="270409"/>
                  </a:cubicBezTo>
                  <a:cubicBezTo>
                    <a:pt x="90032" y="159284"/>
                    <a:pt x="116067" y="100229"/>
                    <a:pt x="200522" y="26569"/>
                  </a:cubicBezTo>
                  <a:cubicBezTo>
                    <a:pt x="260847" y="58319"/>
                    <a:pt x="361177" y="58954"/>
                    <a:pt x="394832" y="119914"/>
                  </a:cubicBezTo>
                  <a:cubicBezTo>
                    <a:pt x="399912" y="261519"/>
                    <a:pt x="438012" y="269774"/>
                    <a:pt x="291962" y="332004"/>
                  </a:cubicBezTo>
                  <a:close/>
                  <a:moveTo>
                    <a:pt x="550407" y="352324"/>
                  </a:moveTo>
                  <a:cubicBezTo>
                    <a:pt x="510402" y="332004"/>
                    <a:pt x="466587" y="307874"/>
                    <a:pt x="431662" y="278664"/>
                  </a:cubicBezTo>
                  <a:cubicBezTo>
                    <a:pt x="443092" y="255804"/>
                    <a:pt x="535802" y="344069"/>
                    <a:pt x="563107" y="328194"/>
                  </a:cubicBezTo>
                  <a:cubicBezTo>
                    <a:pt x="563742" y="298349"/>
                    <a:pt x="504052" y="297079"/>
                    <a:pt x="486272" y="272949"/>
                  </a:cubicBezTo>
                  <a:cubicBezTo>
                    <a:pt x="462142" y="255169"/>
                    <a:pt x="461507" y="255804"/>
                    <a:pt x="428487" y="257709"/>
                  </a:cubicBezTo>
                  <a:cubicBezTo>
                    <a:pt x="400547" y="118644"/>
                    <a:pt x="415787" y="98324"/>
                    <a:pt x="533262" y="22124"/>
                  </a:cubicBezTo>
                  <a:cubicBezTo>
                    <a:pt x="578347" y="42444"/>
                    <a:pt x="611367" y="76099"/>
                    <a:pt x="651372" y="104039"/>
                  </a:cubicBezTo>
                  <a:cubicBezTo>
                    <a:pt x="649467" y="159284"/>
                    <a:pt x="643752" y="213259"/>
                    <a:pt x="653277" y="267234"/>
                  </a:cubicBezTo>
                  <a:cubicBezTo>
                    <a:pt x="625337" y="299619"/>
                    <a:pt x="599302" y="321209"/>
                    <a:pt x="550407" y="352324"/>
                  </a:cubicBezTo>
                  <a:close/>
                  <a:moveTo>
                    <a:pt x="362447" y="111024"/>
                  </a:moveTo>
                  <a:cubicBezTo>
                    <a:pt x="361812" y="137059"/>
                    <a:pt x="340222" y="276124"/>
                    <a:pt x="384037" y="261519"/>
                  </a:cubicBezTo>
                  <a:cubicBezTo>
                    <a:pt x="370702" y="227229"/>
                    <a:pt x="410072" y="110389"/>
                    <a:pt x="362447" y="111024"/>
                  </a:cubicBezTo>
                  <a:close/>
                  <a:moveTo>
                    <a:pt x="222112" y="274854"/>
                  </a:moveTo>
                  <a:cubicBezTo>
                    <a:pt x="194807" y="267234"/>
                    <a:pt x="166867" y="234849"/>
                    <a:pt x="138292" y="246279"/>
                  </a:cubicBezTo>
                  <a:cubicBezTo>
                    <a:pt x="140832" y="274219"/>
                    <a:pt x="241797" y="302159"/>
                    <a:pt x="269737" y="317399"/>
                  </a:cubicBezTo>
                  <a:cubicBezTo>
                    <a:pt x="303392" y="300254"/>
                    <a:pt x="234812" y="284379"/>
                    <a:pt x="222112" y="274854"/>
                  </a:cubicBezTo>
                  <a:close/>
                  <a:moveTo>
                    <a:pt x="199887" y="46889"/>
                  </a:moveTo>
                  <a:cubicBezTo>
                    <a:pt x="182107" y="69749"/>
                    <a:pt x="105272" y="126264"/>
                    <a:pt x="137657" y="151664"/>
                  </a:cubicBezTo>
                  <a:cubicBezTo>
                    <a:pt x="149722" y="130074"/>
                    <a:pt x="253227" y="46889"/>
                    <a:pt x="199887" y="46889"/>
                  </a:cubicBezTo>
                  <a:close/>
                  <a:moveTo>
                    <a:pt x="446267" y="123724"/>
                  </a:moveTo>
                  <a:cubicBezTo>
                    <a:pt x="410707" y="111659"/>
                    <a:pt x="443727" y="204369"/>
                    <a:pt x="440552" y="224054"/>
                  </a:cubicBezTo>
                  <a:cubicBezTo>
                    <a:pt x="449442" y="248184"/>
                    <a:pt x="468492" y="228499"/>
                    <a:pt x="462777" y="219609"/>
                  </a:cubicBezTo>
                  <a:cubicBezTo>
                    <a:pt x="455792" y="185319"/>
                    <a:pt x="462142" y="151664"/>
                    <a:pt x="446267" y="12372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6" name="Google Shape;53;p2">
              <a:extLst>
                <a:ext uri="{FF2B5EF4-FFF2-40B4-BE49-F238E27FC236}">
                  <a16:creationId xmlns:a16="http://schemas.microsoft.com/office/drawing/2014/main" id="{6E8FA8A2-6748-4033-9D1E-7C0954E44E32}"/>
                </a:ext>
              </a:extLst>
            </p:cNvPr>
            <p:cNvGrpSpPr/>
            <p:nvPr/>
          </p:nvGrpSpPr>
          <p:grpSpPr>
            <a:xfrm rot="891035">
              <a:off x="1165229" y="1691730"/>
              <a:ext cx="657771" cy="386113"/>
              <a:chOff x="1429156" y="1387535"/>
              <a:chExt cx="657769" cy="386112"/>
            </a:xfrm>
          </p:grpSpPr>
          <p:sp>
            <p:nvSpPr>
              <p:cNvPr id="90" name="Google Shape;54;p2">
                <a:extLst>
                  <a:ext uri="{FF2B5EF4-FFF2-40B4-BE49-F238E27FC236}">
                    <a16:creationId xmlns:a16="http://schemas.microsoft.com/office/drawing/2014/main" id="{00037E76-654A-469D-A0B6-022FCDB570C5}"/>
                  </a:ext>
                </a:extLst>
              </p:cNvPr>
              <p:cNvSpPr/>
              <p:nvPr/>
            </p:nvSpPr>
            <p:spPr>
              <a:xfrm>
                <a:off x="1429156" y="1387535"/>
                <a:ext cx="657769" cy="386112"/>
              </a:xfrm>
              <a:custGeom>
                <a:avLst/>
                <a:gdLst/>
                <a:ahLst/>
                <a:cxnLst/>
                <a:rect l="l" t="t" r="r" b="b"/>
                <a:pathLst>
                  <a:path w="764848" h="448968" extrusionOk="0">
                    <a:moveTo>
                      <a:pt x="741700" y="448969"/>
                    </a:moveTo>
                    <a:cubicBezTo>
                      <a:pt x="719475" y="440079"/>
                      <a:pt x="715030" y="440714"/>
                      <a:pt x="686455" y="443889"/>
                    </a:cubicBezTo>
                    <a:cubicBezTo>
                      <a:pt x="552470" y="455319"/>
                      <a:pt x="419120" y="428649"/>
                      <a:pt x="285770" y="436269"/>
                    </a:cubicBezTo>
                    <a:cubicBezTo>
                      <a:pt x="193060" y="430554"/>
                      <a:pt x="98445" y="428649"/>
                      <a:pt x="6370" y="441349"/>
                    </a:cubicBezTo>
                    <a:cubicBezTo>
                      <a:pt x="-45700" y="400709"/>
                      <a:pt x="237510" y="281329"/>
                      <a:pt x="273070" y="259739"/>
                    </a:cubicBezTo>
                    <a:cubicBezTo>
                      <a:pt x="431820" y="183539"/>
                      <a:pt x="582950" y="91464"/>
                      <a:pt x="735985" y="3834"/>
                    </a:cubicBezTo>
                    <a:cubicBezTo>
                      <a:pt x="748685" y="-3786"/>
                      <a:pt x="759480" y="24"/>
                      <a:pt x="761385" y="14629"/>
                    </a:cubicBezTo>
                    <a:cubicBezTo>
                      <a:pt x="772180" y="114324"/>
                      <a:pt x="753765" y="215924"/>
                      <a:pt x="759480" y="316889"/>
                    </a:cubicBezTo>
                    <a:cubicBezTo>
                      <a:pt x="752495" y="359434"/>
                      <a:pt x="769640" y="414044"/>
                      <a:pt x="741700" y="448969"/>
                    </a:cubicBezTo>
                    <a:close/>
                    <a:moveTo>
                      <a:pt x="615970" y="418489"/>
                    </a:moveTo>
                    <a:cubicBezTo>
                      <a:pt x="647720" y="425474"/>
                      <a:pt x="636290" y="413409"/>
                      <a:pt x="645815" y="393724"/>
                    </a:cubicBezTo>
                    <a:cubicBezTo>
                      <a:pt x="661690" y="396264"/>
                      <a:pt x="657880" y="414044"/>
                      <a:pt x="669945" y="421029"/>
                    </a:cubicBezTo>
                    <a:cubicBezTo>
                      <a:pt x="675660" y="420394"/>
                      <a:pt x="682645" y="420394"/>
                      <a:pt x="690900" y="419759"/>
                    </a:cubicBezTo>
                    <a:cubicBezTo>
                      <a:pt x="692170" y="410234"/>
                      <a:pt x="692805" y="402614"/>
                      <a:pt x="694075" y="394994"/>
                    </a:cubicBezTo>
                    <a:cubicBezTo>
                      <a:pt x="703600" y="394994"/>
                      <a:pt x="705505" y="401979"/>
                      <a:pt x="708680" y="407059"/>
                    </a:cubicBezTo>
                    <a:cubicBezTo>
                      <a:pt x="718205" y="421664"/>
                      <a:pt x="735350" y="405154"/>
                      <a:pt x="734080" y="391819"/>
                    </a:cubicBezTo>
                    <a:cubicBezTo>
                      <a:pt x="734715" y="274344"/>
                      <a:pt x="747415" y="153059"/>
                      <a:pt x="738525" y="37489"/>
                    </a:cubicBezTo>
                    <a:cubicBezTo>
                      <a:pt x="616605" y="87019"/>
                      <a:pt x="508020" y="171474"/>
                      <a:pt x="388005" y="229259"/>
                    </a:cubicBezTo>
                    <a:cubicBezTo>
                      <a:pt x="278785" y="288314"/>
                      <a:pt x="157500" y="328954"/>
                      <a:pt x="59710" y="406424"/>
                    </a:cubicBezTo>
                    <a:cubicBezTo>
                      <a:pt x="81300" y="415949"/>
                      <a:pt x="101620" y="415949"/>
                      <a:pt x="122575" y="412139"/>
                    </a:cubicBezTo>
                    <a:cubicBezTo>
                      <a:pt x="125115" y="401344"/>
                      <a:pt x="127020" y="392454"/>
                      <a:pt x="128925" y="383564"/>
                    </a:cubicBezTo>
                    <a:cubicBezTo>
                      <a:pt x="154325" y="379119"/>
                      <a:pt x="141625" y="432459"/>
                      <a:pt x="165120" y="404519"/>
                    </a:cubicBezTo>
                    <a:cubicBezTo>
                      <a:pt x="167025" y="400074"/>
                      <a:pt x="165755" y="393724"/>
                      <a:pt x="174010" y="391819"/>
                    </a:cubicBezTo>
                    <a:cubicBezTo>
                      <a:pt x="194965" y="416584"/>
                      <a:pt x="208935" y="421664"/>
                      <a:pt x="221000" y="386104"/>
                    </a:cubicBezTo>
                    <a:cubicBezTo>
                      <a:pt x="238145" y="394994"/>
                      <a:pt x="238780" y="428649"/>
                      <a:pt x="264180" y="408964"/>
                    </a:cubicBezTo>
                    <a:cubicBezTo>
                      <a:pt x="266085" y="401344"/>
                      <a:pt x="267990" y="393724"/>
                      <a:pt x="269895" y="385469"/>
                    </a:cubicBezTo>
                    <a:cubicBezTo>
                      <a:pt x="286405" y="388644"/>
                      <a:pt x="279420" y="407059"/>
                      <a:pt x="292755" y="414044"/>
                    </a:cubicBezTo>
                    <a:cubicBezTo>
                      <a:pt x="299105" y="413409"/>
                      <a:pt x="308630" y="412774"/>
                      <a:pt x="314345" y="412139"/>
                    </a:cubicBezTo>
                    <a:cubicBezTo>
                      <a:pt x="323870" y="404519"/>
                      <a:pt x="314980" y="392454"/>
                      <a:pt x="327045" y="388644"/>
                    </a:cubicBezTo>
                    <a:cubicBezTo>
                      <a:pt x="339745" y="400709"/>
                      <a:pt x="348635" y="422934"/>
                      <a:pt x="374670" y="409599"/>
                    </a:cubicBezTo>
                    <a:cubicBezTo>
                      <a:pt x="374035" y="400709"/>
                      <a:pt x="373400" y="391819"/>
                      <a:pt x="372765" y="379119"/>
                    </a:cubicBezTo>
                    <a:cubicBezTo>
                      <a:pt x="405785" y="384199"/>
                      <a:pt x="385465" y="430554"/>
                      <a:pt x="425470" y="414679"/>
                    </a:cubicBezTo>
                    <a:cubicBezTo>
                      <a:pt x="429915" y="409599"/>
                      <a:pt x="424200" y="399439"/>
                      <a:pt x="434360" y="394994"/>
                    </a:cubicBezTo>
                    <a:cubicBezTo>
                      <a:pt x="445790" y="408329"/>
                      <a:pt x="454045" y="430554"/>
                      <a:pt x="478810" y="416584"/>
                    </a:cubicBezTo>
                    <a:cubicBezTo>
                      <a:pt x="485160" y="407694"/>
                      <a:pt x="473730" y="396264"/>
                      <a:pt x="483890" y="386739"/>
                    </a:cubicBezTo>
                    <a:cubicBezTo>
                      <a:pt x="503575" y="401344"/>
                      <a:pt x="502940" y="441984"/>
                      <a:pt x="535325" y="421029"/>
                    </a:cubicBezTo>
                    <a:cubicBezTo>
                      <a:pt x="535960" y="410234"/>
                      <a:pt x="536595" y="398804"/>
                      <a:pt x="537865" y="386739"/>
                    </a:cubicBezTo>
                    <a:cubicBezTo>
                      <a:pt x="560090" y="389914"/>
                      <a:pt x="549295" y="410869"/>
                      <a:pt x="561360" y="421029"/>
                    </a:cubicBezTo>
                    <a:cubicBezTo>
                      <a:pt x="600730" y="433094"/>
                      <a:pt x="587395" y="409599"/>
                      <a:pt x="600095" y="388009"/>
                    </a:cubicBezTo>
                    <a:cubicBezTo>
                      <a:pt x="605810" y="398169"/>
                      <a:pt x="610255" y="407059"/>
                      <a:pt x="615970" y="41848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91" name="Google Shape;55;p2">
                <a:extLst>
                  <a:ext uri="{FF2B5EF4-FFF2-40B4-BE49-F238E27FC236}">
                    <a16:creationId xmlns:a16="http://schemas.microsoft.com/office/drawing/2014/main" id="{3D9B4B76-5127-4D96-8478-952301488486}"/>
                  </a:ext>
                </a:extLst>
              </p:cNvPr>
              <p:cNvSpPr/>
              <p:nvPr/>
            </p:nvSpPr>
            <p:spPr>
              <a:xfrm>
                <a:off x="1703617" y="1534561"/>
                <a:ext cx="308110" cy="146566"/>
              </a:xfrm>
              <a:custGeom>
                <a:avLst/>
                <a:gdLst/>
                <a:ahLst/>
                <a:cxnLst/>
                <a:rect l="l" t="t" r="r" b="b"/>
                <a:pathLst>
                  <a:path w="358267" h="170426" extrusionOk="0">
                    <a:moveTo>
                      <a:pt x="331351" y="0"/>
                    </a:moveTo>
                    <a:cubicBezTo>
                      <a:pt x="385326" y="29845"/>
                      <a:pt x="340241" y="100330"/>
                      <a:pt x="347226" y="149860"/>
                    </a:cubicBezTo>
                    <a:cubicBezTo>
                      <a:pt x="345956" y="186690"/>
                      <a:pt x="250706" y="162560"/>
                      <a:pt x="222766" y="163830"/>
                    </a:cubicBezTo>
                    <a:cubicBezTo>
                      <a:pt x="152281" y="173990"/>
                      <a:pt x="81796" y="159385"/>
                      <a:pt x="10676" y="165735"/>
                    </a:cubicBezTo>
                    <a:cubicBezTo>
                      <a:pt x="-67429" y="148590"/>
                      <a:pt x="307856" y="15240"/>
                      <a:pt x="331351" y="0"/>
                    </a:cubicBezTo>
                    <a:close/>
                    <a:moveTo>
                      <a:pt x="331986" y="27305"/>
                    </a:moveTo>
                    <a:cubicBezTo>
                      <a:pt x="281821" y="40005"/>
                      <a:pt x="86241" y="122555"/>
                      <a:pt x="64651" y="139700"/>
                    </a:cubicBezTo>
                    <a:cubicBezTo>
                      <a:pt x="146566" y="156845"/>
                      <a:pt x="236736" y="147955"/>
                      <a:pt x="321191" y="142875"/>
                    </a:cubicBezTo>
                    <a:cubicBezTo>
                      <a:pt x="327541" y="104140"/>
                      <a:pt x="333891" y="66675"/>
                      <a:pt x="331986" y="2730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37" name="Google Shape;56;p2">
              <a:extLst>
                <a:ext uri="{FF2B5EF4-FFF2-40B4-BE49-F238E27FC236}">
                  <a16:creationId xmlns:a16="http://schemas.microsoft.com/office/drawing/2014/main" id="{BCC50E44-D05B-4D2B-BFC7-9BFD74379BFC}"/>
                </a:ext>
              </a:extLst>
            </p:cNvPr>
            <p:cNvSpPr/>
            <p:nvPr/>
          </p:nvSpPr>
          <p:spPr>
            <a:xfrm rot="-1696692">
              <a:off x="7441723" y="1525254"/>
              <a:ext cx="760522" cy="200454"/>
            </a:xfrm>
            <a:custGeom>
              <a:avLst/>
              <a:gdLst/>
              <a:ahLst/>
              <a:cxnLst/>
              <a:rect l="l" t="t" r="r" b="b"/>
              <a:pathLst>
                <a:path w="884171" h="233045" extrusionOk="0">
                  <a:moveTo>
                    <a:pt x="857928" y="0"/>
                  </a:moveTo>
                  <a:cubicBezTo>
                    <a:pt x="574717" y="35560"/>
                    <a:pt x="287698" y="28575"/>
                    <a:pt x="3218" y="62230"/>
                  </a:cubicBezTo>
                  <a:cubicBezTo>
                    <a:pt x="6393" y="102870"/>
                    <a:pt x="-13927" y="213360"/>
                    <a:pt x="19727" y="233045"/>
                  </a:cubicBezTo>
                  <a:cubicBezTo>
                    <a:pt x="151173" y="226695"/>
                    <a:pt x="281348" y="213995"/>
                    <a:pt x="413427" y="214630"/>
                  </a:cubicBezTo>
                  <a:cubicBezTo>
                    <a:pt x="563923" y="219075"/>
                    <a:pt x="715053" y="208280"/>
                    <a:pt x="865548" y="195580"/>
                  </a:cubicBezTo>
                  <a:cubicBezTo>
                    <a:pt x="899203" y="207010"/>
                    <a:pt x="881423" y="5080"/>
                    <a:pt x="857928" y="0"/>
                  </a:cubicBezTo>
                  <a:close/>
                  <a:moveTo>
                    <a:pt x="860467" y="169545"/>
                  </a:moveTo>
                  <a:cubicBezTo>
                    <a:pt x="825542" y="180340"/>
                    <a:pt x="790617" y="177165"/>
                    <a:pt x="756328" y="185420"/>
                  </a:cubicBezTo>
                  <a:cubicBezTo>
                    <a:pt x="748707" y="175260"/>
                    <a:pt x="742357" y="167005"/>
                    <a:pt x="735373" y="157480"/>
                  </a:cubicBezTo>
                  <a:cubicBezTo>
                    <a:pt x="723942" y="175260"/>
                    <a:pt x="730928" y="186690"/>
                    <a:pt x="703623" y="183515"/>
                  </a:cubicBezTo>
                  <a:cubicBezTo>
                    <a:pt x="699813" y="175895"/>
                    <a:pt x="695367" y="168275"/>
                    <a:pt x="690923" y="160020"/>
                  </a:cubicBezTo>
                  <a:cubicBezTo>
                    <a:pt x="677588" y="164465"/>
                    <a:pt x="685842" y="179070"/>
                    <a:pt x="676317" y="184150"/>
                  </a:cubicBezTo>
                  <a:cubicBezTo>
                    <a:pt x="662982" y="182245"/>
                    <a:pt x="673778" y="159385"/>
                    <a:pt x="654092" y="161290"/>
                  </a:cubicBezTo>
                  <a:cubicBezTo>
                    <a:pt x="652188" y="168910"/>
                    <a:pt x="649648" y="177800"/>
                    <a:pt x="647742" y="186690"/>
                  </a:cubicBezTo>
                  <a:cubicBezTo>
                    <a:pt x="598213" y="209550"/>
                    <a:pt x="632503" y="132080"/>
                    <a:pt x="597578" y="128270"/>
                  </a:cubicBezTo>
                  <a:cubicBezTo>
                    <a:pt x="574717" y="146050"/>
                    <a:pt x="625517" y="198120"/>
                    <a:pt x="575988" y="194310"/>
                  </a:cubicBezTo>
                  <a:cubicBezTo>
                    <a:pt x="571542" y="184150"/>
                    <a:pt x="566463" y="172720"/>
                    <a:pt x="561382" y="160020"/>
                  </a:cubicBezTo>
                  <a:cubicBezTo>
                    <a:pt x="548682" y="168910"/>
                    <a:pt x="555667" y="180975"/>
                    <a:pt x="551223" y="189865"/>
                  </a:cubicBezTo>
                  <a:cubicBezTo>
                    <a:pt x="527727" y="199390"/>
                    <a:pt x="528363" y="180340"/>
                    <a:pt x="515663" y="167640"/>
                  </a:cubicBezTo>
                  <a:cubicBezTo>
                    <a:pt x="506138" y="172720"/>
                    <a:pt x="510582" y="179070"/>
                    <a:pt x="509948" y="184785"/>
                  </a:cubicBezTo>
                  <a:cubicBezTo>
                    <a:pt x="503598" y="211455"/>
                    <a:pt x="478832" y="184150"/>
                    <a:pt x="477563" y="168275"/>
                  </a:cubicBezTo>
                  <a:cubicBezTo>
                    <a:pt x="475657" y="168275"/>
                    <a:pt x="473118" y="168910"/>
                    <a:pt x="471213" y="168910"/>
                  </a:cubicBezTo>
                  <a:cubicBezTo>
                    <a:pt x="468673" y="176530"/>
                    <a:pt x="468038" y="185420"/>
                    <a:pt x="468673" y="192405"/>
                  </a:cubicBezTo>
                  <a:cubicBezTo>
                    <a:pt x="419143" y="222885"/>
                    <a:pt x="449623" y="139065"/>
                    <a:pt x="420413" y="134620"/>
                  </a:cubicBezTo>
                  <a:cubicBezTo>
                    <a:pt x="403268" y="157480"/>
                    <a:pt x="441368" y="204470"/>
                    <a:pt x="384852" y="194310"/>
                  </a:cubicBezTo>
                  <a:cubicBezTo>
                    <a:pt x="379773" y="186690"/>
                    <a:pt x="374057" y="178435"/>
                    <a:pt x="367707" y="168910"/>
                  </a:cubicBezTo>
                  <a:cubicBezTo>
                    <a:pt x="355643" y="175260"/>
                    <a:pt x="365802" y="188595"/>
                    <a:pt x="356277" y="194310"/>
                  </a:cubicBezTo>
                  <a:cubicBezTo>
                    <a:pt x="341038" y="190500"/>
                    <a:pt x="348023" y="171450"/>
                    <a:pt x="337227" y="164465"/>
                  </a:cubicBezTo>
                  <a:cubicBezTo>
                    <a:pt x="323893" y="161290"/>
                    <a:pt x="327702" y="179705"/>
                    <a:pt x="325798" y="187960"/>
                  </a:cubicBezTo>
                  <a:cubicBezTo>
                    <a:pt x="311827" y="185420"/>
                    <a:pt x="316907" y="161290"/>
                    <a:pt x="299763" y="167640"/>
                  </a:cubicBezTo>
                  <a:cubicBezTo>
                    <a:pt x="299127" y="175260"/>
                    <a:pt x="298493" y="183515"/>
                    <a:pt x="297857" y="193040"/>
                  </a:cubicBezTo>
                  <a:cubicBezTo>
                    <a:pt x="284523" y="198120"/>
                    <a:pt x="270552" y="196215"/>
                    <a:pt x="255313" y="193675"/>
                  </a:cubicBezTo>
                  <a:cubicBezTo>
                    <a:pt x="253407" y="123190"/>
                    <a:pt x="226102" y="121285"/>
                    <a:pt x="228643" y="193675"/>
                  </a:cubicBezTo>
                  <a:cubicBezTo>
                    <a:pt x="208957" y="210185"/>
                    <a:pt x="200068" y="191770"/>
                    <a:pt x="189907" y="181610"/>
                  </a:cubicBezTo>
                  <a:cubicBezTo>
                    <a:pt x="187368" y="183515"/>
                    <a:pt x="184827" y="184150"/>
                    <a:pt x="184193" y="185420"/>
                  </a:cubicBezTo>
                  <a:cubicBezTo>
                    <a:pt x="179748" y="215265"/>
                    <a:pt x="160063" y="195580"/>
                    <a:pt x="153713" y="178435"/>
                  </a:cubicBezTo>
                  <a:cubicBezTo>
                    <a:pt x="136568" y="176530"/>
                    <a:pt x="152443" y="219075"/>
                    <a:pt x="127043" y="200025"/>
                  </a:cubicBezTo>
                  <a:cubicBezTo>
                    <a:pt x="124502" y="193040"/>
                    <a:pt x="122598" y="184150"/>
                    <a:pt x="116248" y="179070"/>
                  </a:cubicBezTo>
                  <a:cubicBezTo>
                    <a:pt x="104818" y="182245"/>
                    <a:pt x="108627" y="191135"/>
                    <a:pt x="106088" y="197485"/>
                  </a:cubicBezTo>
                  <a:cubicBezTo>
                    <a:pt x="76877" y="236855"/>
                    <a:pt x="86402" y="157480"/>
                    <a:pt x="76877" y="144780"/>
                  </a:cubicBezTo>
                  <a:cubicBezTo>
                    <a:pt x="43857" y="125095"/>
                    <a:pt x="66718" y="187325"/>
                    <a:pt x="62273" y="203200"/>
                  </a:cubicBezTo>
                  <a:cubicBezTo>
                    <a:pt x="52113" y="213360"/>
                    <a:pt x="41318" y="208280"/>
                    <a:pt x="29888" y="208280"/>
                  </a:cubicBezTo>
                  <a:cubicBezTo>
                    <a:pt x="26077" y="177165"/>
                    <a:pt x="5123" y="95250"/>
                    <a:pt x="35602" y="78740"/>
                  </a:cubicBezTo>
                  <a:cubicBezTo>
                    <a:pt x="133393" y="58420"/>
                    <a:pt x="233723" y="57785"/>
                    <a:pt x="333418" y="53975"/>
                  </a:cubicBezTo>
                  <a:cubicBezTo>
                    <a:pt x="505502" y="41910"/>
                    <a:pt x="680763" y="26670"/>
                    <a:pt x="852213" y="30480"/>
                  </a:cubicBezTo>
                  <a:cubicBezTo>
                    <a:pt x="863007" y="74930"/>
                    <a:pt x="864913" y="125730"/>
                    <a:pt x="860467" y="169545"/>
                  </a:cubicBezTo>
                  <a:close/>
                  <a:moveTo>
                    <a:pt x="776648" y="102235"/>
                  </a:moveTo>
                  <a:cubicBezTo>
                    <a:pt x="776648" y="144780"/>
                    <a:pt x="831892" y="132080"/>
                    <a:pt x="839513" y="100965"/>
                  </a:cubicBezTo>
                  <a:cubicBezTo>
                    <a:pt x="838878" y="50800"/>
                    <a:pt x="779188" y="59055"/>
                    <a:pt x="776648" y="102235"/>
                  </a:cubicBezTo>
                  <a:close/>
                  <a:moveTo>
                    <a:pt x="796967" y="102235"/>
                  </a:moveTo>
                  <a:cubicBezTo>
                    <a:pt x="799507" y="89535"/>
                    <a:pt x="809032" y="91440"/>
                    <a:pt x="817288" y="101600"/>
                  </a:cubicBezTo>
                  <a:cubicBezTo>
                    <a:pt x="809032" y="107315"/>
                    <a:pt x="796332" y="116205"/>
                    <a:pt x="796967" y="1022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38" name="Google Shape;57;p2">
              <a:extLst>
                <a:ext uri="{FF2B5EF4-FFF2-40B4-BE49-F238E27FC236}">
                  <a16:creationId xmlns:a16="http://schemas.microsoft.com/office/drawing/2014/main" id="{59BF1B50-3F01-40E4-9920-78A3641A19BF}"/>
                </a:ext>
              </a:extLst>
            </p:cNvPr>
            <p:cNvSpPr/>
            <p:nvPr/>
          </p:nvSpPr>
          <p:spPr>
            <a:xfrm>
              <a:off x="1161548" y="2558031"/>
              <a:ext cx="665135" cy="522113"/>
            </a:xfrm>
            <a:custGeom>
              <a:avLst/>
              <a:gdLst/>
              <a:ahLst/>
              <a:cxnLst/>
              <a:rect l="l" t="t" r="r" b="b"/>
              <a:pathLst>
                <a:path w="773413" h="607108" extrusionOk="0">
                  <a:moveTo>
                    <a:pt x="330200" y="266676"/>
                  </a:moveTo>
                  <a:cubicBezTo>
                    <a:pt x="311785" y="287631"/>
                    <a:pt x="356870" y="297791"/>
                    <a:pt x="365125" y="312396"/>
                  </a:cubicBezTo>
                  <a:cubicBezTo>
                    <a:pt x="452120" y="383516"/>
                    <a:pt x="374650" y="271121"/>
                    <a:pt x="330200" y="266676"/>
                  </a:cubicBezTo>
                  <a:close/>
                  <a:moveTo>
                    <a:pt x="345440" y="379706"/>
                  </a:moveTo>
                  <a:cubicBezTo>
                    <a:pt x="343535" y="361291"/>
                    <a:pt x="321945" y="360021"/>
                    <a:pt x="318770" y="343511"/>
                  </a:cubicBezTo>
                  <a:cubicBezTo>
                    <a:pt x="320675" y="320016"/>
                    <a:pt x="302260" y="323826"/>
                    <a:pt x="288925" y="317476"/>
                  </a:cubicBezTo>
                  <a:cubicBezTo>
                    <a:pt x="288290" y="309856"/>
                    <a:pt x="287655" y="302871"/>
                    <a:pt x="287020" y="295886"/>
                  </a:cubicBezTo>
                  <a:cubicBezTo>
                    <a:pt x="256540" y="302871"/>
                    <a:pt x="237490" y="313031"/>
                    <a:pt x="245745" y="340336"/>
                  </a:cubicBezTo>
                  <a:cubicBezTo>
                    <a:pt x="258445" y="358116"/>
                    <a:pt x="277495" y="337796"/>
                    <a:pt x="294005" y="347956"/>
                  </a:cubicBezTo>
                  <a:cubicBezTo>
                    <a:pt x="292100" y="368911"/>
                    <a:pt x="304800" y="377801"/>
                    <a:pt x="325120" y="377801"/>
                  </a:cubicBezTo>
                  <a:cubicBezTo>
                    <a:pt x="336550" y="404471"/>
                    <a:pt x="335915" y="405106"/>
                    <a:pt x="358775" y="416536"/>
                  </a:cubicBezTo>
                  <a:cubicBezTo>
                    <a:pt x="372110" y="422251"/>
                    <a:pt x="386715" y="457176"/>
                    <a:pt x="400050" y="436221"/>
                  </a:cubicBezTo>
                  <a:cubicBezTo>
                    <a:pt x="391795" y="396851"/>
                    <a:pt x="360680" y="405106"/>
                    <a:pt x="345440" y="379706"/>
                  </a:cubicBezTo>
                  <a:close/>
                  <a:moveTo>
                    <a:pt x="507365" y="428601"/>
                  </a:moveTo>
                  <a:cubicBezTo>
                    <a:pt x="495935" y="401296"/>
                    <a:pt x="474345" y="382881"/>
                    <a:pt x="453390" y="364466"/>
                  </a:cubicBezTo>
                  <a:cubicBezTo>
                    <a:pt x="431165" y="346051"/>
                    <a:pt x="431165" y="391136"/>
                    <a:pt x="451485" y="393676"/>
                  </a:cubicBezTo>
                  <a:cubicBezTo>
                    <a:pt x="487045" y="408916"/>
                    <a:pt x="488315" y="451461"/>
                    <a:pt x="525145" y="467336"/>
                  </a:cubicBezTo>
                  <a:cubicBezTo>
                    <a:pt x="542925" y="447651"/>
                    <a:pt x="513715" y="441301"/>
                    <a:pt x="507365" y="428601"/>
                  </a:cubicBezTo>
                  <a:close/>
                  <a:moveTo>
                    <a:pt x="504825" y="315571"/>
                  </a:moveTo>
                  <a:cubicBezTo>
                    <a:pt x="500380" y="301601"/>
                    <a:pt x="481965" y="299061"/>
                    <a:pt x="480060" y="284456"/>
                  </a:cubicBezTo>
                  <a:cubicBezTo>
                    <a:pt x="474980" y="258421"/>
                    <a:pt x="442595" y="265406"/>
                    <a:pt x="434340" y="241276"/>
                  </a:cubicBezTo>
                  <a:cubicBezTo>
                    <a:pt x="421005" y="238101"/>
                    <a:pt x="410210" y="251436"/>
                    <a:pt x="398145" y="240006"/>
                  </a:cubicBezTo>
                  <a:cubicBezTo>
                    <a:pt x="403860" y="233656"/>
                    <a:pt x="408940" y="232386"/>
                    <a:pt x="417195" y="228576"/>
                  </a:cubicBezTo>
                  <a:cubicBezTo>
                    <a:pt x="400050" y="175871"/>
                    <a:pt x="313690" y="272391"/>
                    <a:pt x="419735" y="267311"/>
                  </a:cubicBezTo>
                  <a:cubicBezTo>
                    <a:pt x="422275" y="289536"/>
                    <a:pt x="445770" y="278741"/>
                    <a:pt x="461645" y="288266"/>
                  </a:cubicBezTo>
                  <a:cubicBezTo>
                    <a:pt x="460375" y="315571"/>
                    <a:pt x="490855" y="330176"/>
                    <a:pt x="508000" y="347321"/>
                  </a:cubicBezTo>
                  <a:cubicBezTo>
                    <a:pt x="532130" y="360656"/>
                    <a:pt x="526415" y="399391"/>
                    <a:pt x="563245" y="392406"/>
                  </a:cubicBezTo>
                  <a:cubicBezTo>
                    <a:pt x="560070" y="370181"/>
                    <a:pt x="537210" y="365101"/>
                    <a:pt x="537210" y="340971"/>
                  </a:cubicBezTo>
                  <a:cubicBezTo>
                    <a:pt x="524510" y="334621"/>
                    <a:pt x="509270" y="329541"/>
                    <a:pt x="504825" y="315571"/>
                  </a:cubicBezTo>
                  <a:close/>
                  <a:moveTo>
                    <a:pt x="744220" y="156186"/>
                  </a:moveTo>
                  <a:cubicBezTo>
                    <a:pt x="658495" y="119991"/>
                    <a:pt x="573405" y="78081"/>
                    <a:pt x="509270" y="8231"/>
                  </a:cubicBezTo>
                  <a:cubicBezTo>
                    <a:pt x="478155" y="-22249"/>
                    <a:pt x="454660" y="40616"/>
                    <a:pt x="430530" y="55856"/>
                  </a:cubicBezTo>
                  <a:cubicBezTo>
                    <a:pt x="309880" y="170156"/>
                    <a:pt x="172720" y="286361"/>
                    <a:pt x="0" y="294616"/>
                  </a:cubicBezTo>
                  <a:cubicBezTo>
                    <a:pt x="14605" y="319381"/>
                    <a:pt x="14605" y="318746"/>
                    <a:pt x="29845" y="328271"/>
                  </a:cubicBezTo>
                  <a:cubicBezTo>
                    <a:pt x="91440" y="365736"/>
                    <a:pt x="144780" y="415901"/>
                    <a:pt x="205740" y="454001"/>
                  </a:cubicBezTo>
                  <a:cubicBezTo>
                    <a:pt x="279400" y="483211"/>
                    <a:pt x="368935" y="638786"/>
                    <a:pt x="440690" y="601322"/>
                  </a:cubicBezTo>
                  <a:cubicBezTo>
                    <a:pt x="623570" y="562586"/>
                    <a:pt x="855980" y="342876"/>
                    <a:pt x="744220" y="156186"/>
                  </a:cubicBezTo>
                  <a:close/>
                  <a:moveTo>
                    <a:pt x="412750" y="585447"/>
                  </a:moveTo>
                  <a:cubicBezTo>
                    <a:pt x="372110" y="579731"/>
                    <a:pt x="340995" y="535916"/>
                    <a:pt x="308610" y="511786"/>
                  </a:cubicBezTo>
                  <a:cubicBezTo>
                    <a:pt x="229235" y="438761"/>
                    <a:pt x="133985" y="389866"/>
                    <a:pt x="57150" y="314301"/>
                  </a:cubicBezTo>
                  <a:cubicBezTo>
                    <a:pt x="231140" y="271756"/>
                    <a:pt x="370840" y="152376"/>
                    <a:pt x="493395" y="26646"/>
                  </a:cubicBezTo>
                  <a:cubicBezTo>
                    <a:pt x="561975" y="90781"/>
                    <a:pt x="644525" y="126976"/>
                    <a:pt x="723265" y="173966"/>
                  </a:cubicBezTo>
                  <a:cubicBezTo>
                    <a:pt x="699135" y="203176"/>
                    <a:pt x="664210" y="216511"/>
                    <a:pt x="643255" y="243816"/>
                  </a:cubicBezTo>
                  <a:cubicBezTo>
                    <a:pt x="660400" y="283186"/>
                    <a:pt x="710565" y="292076"/>
                    <a:pt x="733425" y="327636"/>
                  </a:cubicBezTo>
                  <a:cubicBezTo>
                    <a:pt x="689610" y="466701"/>
                    <a:pt x="548005" y="554966"/>
                    <a:pt x="412750" y="585447"/>
                  </a:cubicBezTo>
                  <a:close/>
                  <a:moveTo>
                    <a:pt x="674370" y="250166"/>
                  </a:moveTo>
                  <a:cubicBezTo>
                    <a:pt x="697865" y="229211"/>
                    <a:pt x="714375" y="205716"/>
                    <a:pt x="743585" y="197461"/>
                  </a:cubicBezTo>
                  <a:cubicBezTo>
                    <a:pt x="744855" y="232386"/>
                    <a:pt x="751205" y="265406"/>
                    <a:pt x="738505" y="299061"/>
                  </a:cubicBezTo>
                  <a:cubicBezTo>
                    <a:pt x="712470" y="288266"/>
                    <a:pt x="697865" y="265406"/>
                    <a:pt x="674370" y="250166"/>
                  </a:cubicBezTo>
                  <a:close/>
                  <a:moveTo>
                    <a:pt x="641985" y="310491"/>
                  </a:moveTo>
                  <a:cubicBezTo>
                    <a:pt x="619760" y="306681"/>
                    <a:pt x="605790" y="289536"/>
                    <a:pt x="589280" y="280011"/>
                  </a:cubicBezTo>
                  <a:cubicBezTo>
                    <a:pt x="587375" y="270486"/>
                    <a:pt x="586105" y="263501"/>
                    <a:pt x="584835" y="255881"/>
                  </a:cubicBezTo>
                  <a:cubicBezTo>
                    <a:pt x="541020" y="246356"/>
                    <a:pt x="568960" y="223496"/>
                    <a:pt x="506095" y="215241"/>
                  </a:cubicBezTo>
                  <a:cubicBezTo>
                    <a:pt x="534670" y="166346"/>
                    <a:pt x="490220" y="189841"/>
                    <a:pt x="461645" y="186031"/>
                  </a:cubicBezTo>
                  <a:cubicBezTo>
                    <a:pt x="436245" y="172061"/>
                    <a:pt x="474345" y="158726"/>
                    <a:pt x="487045" y="156186"/>
                  </a:cubicBezTo>
                  <a:cubicBezTo>
                    <a:pt x="502920" y="130786"/>
                    <a:pt x="456565" y="133961"/>
                    <a:pt x="447040" y="148566"/>
                  </a:cubicBezTo>
                  <a:cubicBezTo>
                    <a:pt x="419100" y="174601"/>
                    <a:pt x="444500" y="210796"/>
                    <a:pt x="478790" y="206986"/>
                  </a:cubicBezTo>
                  <a:cubicBezTo>
                    <a:pt x="490855" y="245086"/>
                    <a:pt x="502285" y="234291"/>
                    <a:pt x="534670" y="244451"/>
                  </a:cubicBezTo>
                  <a:cubicBezTo>
                    <a:pt x="539115" y="264771"/>
                    <a:pt x="565785" y="269851"/>
                    <a:pt x="571500" y="292711"/>
                  </a:cubicBezTo>
                  <a:cubicBezTo>
                    <a:pt x="590550" y="305411"/>
                    <a:pt x="613410" y="332081"/>
                    <a:pt x="638175" y="329541"/>
                  </a:cubicBezTo>
                  <a:cubicBezTo>
                    <a:pt x="647700" y="327636"/>
                    <a:pt x="648335" y="313666"/>
                    <a:pt x="641985" y="31049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39" name="Google Shape;58;p2">
              <a:extLst>
                <a:ext uri="{FF2B5EF4-FFF2-40B4-BE49-F238E27FC236}">
                  <a16:creationId xmlns:a16="http://schemas.microsoft.com/office/drawing/2014/main" id="{ECF2D44A-FB25-43C4-AFB2-097784CDC432}"/>
                </a:ext>
              </a:extLst>
            </p:cNvPr>
            <p:cNvGrpSpPr/>
            <p:nvPr/>
          </p:nvGrpSpPr>
          <p:grpSpPr>
            <a:xfrm>
              <a:off x="346827" y="3411153"/>
              <a:ext cx="376916" cy="455685"/>
              <a:chOff x="1010452" y="1144365"/>
              <a:chExt cx="376916" cy="455685"/>
            </a:xfrm>
          </p:grpSpPr>
          <p:sp>
            <p:nvSpPr>
              <p:cNvPr id="88" name="Google Shape;59;p2">
                <a:extLst>
                  <a:ext uri="{FF2B5EF4-FFF2-40B4-BE49-F238E27FC236}">
                    <a16:creationId xmlns:a16="http://schemas.microsoft.com/office/drawing/2014/main" id="{9DAA066F-D056-423F-BF3E-D6A24D45AEE9}"/>
                  </a:ext>
                </a:extLst>
              </p:cNvPr>
              <p:cNvSpPr/>
              <p:nvPr/>
            </p:nvSpPr>
            <p:spPr>
              <a:xfrm>
                <a:off x="1010452" y="1144365"/>
                <a:ext cx="376916" cy="455685"/>
              </a:xfrm>
              <a:custGeom>
                <a:avLst/>
                <a:gdLst/>
                <a:ahLst/>
                <a:cxnLst/>
                <a:rect l="l" t="t" r="r" b="b"/>
                <a:pathLst>
                  <a:path w="438274" h="529866" extrusionOk="0">
                    <a:moveTo>
                      <a:pt x="42669" y="358775"/>
                    </a:moveTo>
                    <a:cubicBezTo>
                      <a:pt x="32509" y="365760"/>
                      <a:pt x="24889" y="370840"/>
                      <a:pt x="16634" y="376555"/>
                    </a:cubicBezTo>
                    <a:cubicBezTo>
                      <a:pt x="759" y="367030"/>
                      <a:pt x="-511" y="353060"/>
                      <a:pt x="124" y="337820"/>
                    </a:cubicBezTo>
                    <a:cubicBezTo>
                      <a:pt x="25524" y="336550"/>
                      <a:pt x="44574" y="340360"/>
                      <a:pt x="69339" y="353060"/>
                    </a:cubicBezTo>
                    <a:cubicBezTo>
                      <a:pt x="81404" y="349250"/>
                      <a:pt x="94739" y="345440"/>
                      <a:pt x="107439" y="340995"/>
                    </a:cubicBezTo>
                    <a:cubicBezTo>
                      <a:pt x="139189" y="224155"/>
                      <a:pt x="129029" y="254000"/>
                      <a:pt x="172209" y="186055"/>
                    </a:cubicBezTo>
                    <a:cubicBezTo>
                      <a:pt x="136014" y="133985"/>
                      <a:pt x="101089" y="64770"/>
                      <a:pt x="130934" y="0"/>
                    </a:cubicBezTo>
                    <a:cubicBezTo>
                      <a:pt x="181099" y="8255"/>
                      <a:pt x="230629" y="101600"/>
                      <a:pt x="237614" y="151130"/>
                    </a:cubicBezTo>
                    <a:cubicBezTo>
                      <a:pt x="282699" y="160020"/>
                      <a:pt x="330324" y="148590"/>
                      <a:pt x="366519" y="186055"/>
                    </a:cubicBezTo>
                    <a:cubicBezTo>
                      <a:pt x="391284" y="211455"/>
                      <a:pt x="430654" y="226695"/>
                      <a:pt x="438274" y="264795"/>
                    </a:cubicBezTo>
                    <a:cubicBezTo>
                      <a:pt x="363344" y="320040"/>
                      <a:pt x="256029" y="259080"/>
                      <a:pt x="195704" y="205740"/>
                    </a:cubicBezTo>
                    <a:cubicBezTo>
                      <a:pt x="153794" y="228600"/>
                      <a:pt x="141094" y="292100"/>
                      <a:pt x="136649" y="332740"/>
                    </a:cubicBezTo>
                    <a:cubicBezTo>
                      <a:pt x="143634" y="339090"/>
                      <a:pt x="151889" y="345440"/>
                      <a:pt x="160779" y="353060"/>
                    </a:cubicBezTo>
                    <a:cubicBezTo>
                      <a:pt x="169669" y="349885"/>
                      <a:pt x="178559" y="346075"/>
                      <a:pt x="188084" y="342900"/>
                    </a:cubicBezTo>
                    <a:cubicBezTo>
                      <a:pt x="193799" y="347345"/>
                      <a:pt x="199514" y="351790"/>
                      <a:pt x="205864" y="357505"/>
                    </a:cubicBezTo>
                    <a:cubicBezTo>
                      <a:pt x="238249" y="346710"/>
                      <a:pt x="275079" y="366395"/>
                      <a:pt x="310004" y="365125"/>
                    </a:cubicBezTo>
                    <a:cubicBezTo>
                      <a:pt x="348104" y="407670"/>
                      <a:pt x="245869" y="379095"/>
                      <a:pt x="227454" y="375285"/>
                    </a:cubicBezTo>
                    <a:cubicBezTo>
                      <a:pt x="220469" y="379095"/>
                      <a:pt x="212849" y="384175"/>
                      <a:pt x="203959" y="388620"/>
                    </a:cubicBezTo>
                    <a:cubicBezTo>
                      <a:pt x="196974" y="386080"/>
                      <a:pt x="188719" y="381000"/>
                      <a:pt x="184274" y="375920"/>
                    </a:cubicBezTo>
                    <a:cubicBezTo>
                      <a:pt x="167129" y="374650"/>
                      <a:pt x="151889" y="373380"/>
                      <a:pt x="134744" y="372110"/>
                    </a:cubicBezTo>
                    <a:cubicBezTo>
                      <a:pt x="134744" y="381000"/>
                      <a:pt x="139189" y="389890"/>
                      <a:pt x="145539" y="395605"/>
                    </a:cubicBezTo>
                    <a:cubicBezTo>
                      <a:pt x="186179" y="433070"/>
                      <a:pt x="166494" y="499110"/>
                      <a:pt x="128394" y="528955"/>
                    </a:cubicBezTo>
                    <a:cubicBezTo>
                      <a:pt x="69974" y="541020"/>
                      <a:pt x="67434" y="429895"/>
                      <a:pt x="99819" y="396875"/>
                    </a:cubicBezTo>
                    <a:cubicBezTo>
                      <a:pt x="113154" y="386715"/>
                      <a:pt x="109979" y="361315"/>
                      <a:pt x="90294" y="370205"/>
                    </a:cubicBezTo>
                    <a:cubicBezTo>
                      <a:pt x="71244" y="380365"/>
                      <a:pt x="57909" y="368300"/>
                      <a:pt x="42669" y="358775"/>
                    </a:cubicBezTo>
                    <a:close/>
                    <a:moveTo>
                      <a:pt x="111884" y="481965"/>
                    </a:moveTo>
                    <a:cubicBezTo>
                      <a:pt x="107439" y="512445"/>
                      <a:pt x="133474" y="506095"/>
                      <a:pt x="111249" y="482600"/>
                    </a:cubicBezTo>
                    <a:cubicBezTo>
                      <a:pt x="110614" y="470535"/>
                      <a:pt x="109979" y="458470"/>
                      <a:pt x="108709" y="446405"/>
                    </a:cubicBezTo>
                    <a:cubicBezTo>
                      <a:pt x="105534" y="458470"/>
                      <a:pt x="99184" y="471805"/>
                      <a:pt x="111884" y="481965"/>
                    </a:cubicBezTo>
                    <a:close/>
                    <a:moveTo>
                      <a:pt x="200784" y="171450"/>
                    </a:moveTo>
                    <a:cubicBezTo>
                      <a:pt x="233804" y="126365"/>
                      <a:pt x="188084" y="57785"/>
                      <a:pt x="148079" y="34290"/>
                    </a:cubicBezTo>
                    <a:cubicBezTo>
                      <a:pt x="130934" y="70485"/>
                      <a:pt x="156334" y="168910"/>
                      <a:pt x="200784" y="171450"/>
                    </a:cubicBezTo>
                    <a:lnTo>
                      <a:pt x="200784" y="171450"/>
                    </a:lnTo>
                    <a:close/>
                    <a:moveTo>
                      <a:pt x="241424" y="220980"/>
                    </a:moveTo>
                    <a:lnTo>
                      <a:pt x="242059" y="219075"/>
                    </a:lnTo>
                    <a:lnTo>
                      <a:pt x="240154" y="220345"/>
                    </a:lnTo>
                    <a:cubicBezTo>
                      <a:pt x="289684" y="245110"/>
                      <a:pt x="363979" y="292100"/>
                      <a:pt x="412239" y="248920"/>
                    </a:cubicBezTo>
                    <a:cubicBezTo>
                      <a:pt x="370964" y="205740"/>
                      <a:pt x="304289" y="149860"/>
                      <a:pt x="243964" y="186690"/>
                    </a:cubicBezTo>
                    <a:cubicBezTo>
                      <a:pt x="269999" y="217170"/>
                      <a:pt x="344294" y="203835"/>
                      <a:pt x="353819" y="244475"/>
                    </a:cubicBezTo>
                    <a:cubicBezTo>
                      <a:pt x="318259" y="237490"/>
                      <a:pt x="280159" y="214630"/>
                      <a:pt x="241424" y="220980"/>
                    </a:cubicBezTo>
                    <a:close/>
                    <a:moveTo>
                      <a:pt x="139189" y="431165"/>
                    </a:moveTo>
                    <a:cubicBezTo>
                      <a:pt x="135379" y="450215"/>
                      <a:pt x="134744" y="450215"/>
                      <a:pt x="140459" y="465455"/>
                    </a:cubicBezTo>
                    <a:cubicBezTo>
                      <a:pt x="146809" y="453390"/>
                      <a:pt x="145539" y="443230"/>
                      <a:pt x="139189" y="43116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89" name="Google Shape;60;p2">
                <a:extLst>
                  <a:ext uri="{FF2B5EF4-FFF2-40B4-BE49-F238E27FC236}">
                    <a16:creationId xmlns:a16="http://schemas.microsoft.com/office/drawing/2014/main" id="{3D9CCD77-55C1-476F-8683-56ED66C7A90A}"/>
                  </a:ext>
                </a:extLst>
              </p:cNvPr>
              <p:cNvSpPr/>
              <p:nvPr/>
            </p:nvSpPr>
            <p:spPr>
              <a:xfrm>
                <a:off x="1151008" y="1222803"/>
                <a:ext cx="35003" cy="68520"/>
              </a:xfrm>
              <a:custGeom>
                <a:avLst/>
                <a:gdLst/>
                <a:ahLst/>
                <a:cxnLst/>
                <a:rect l="l" t="t" r="r" b="b"/>
                <a:pathLst>
                  <a:path w="40701" h="79674" extrusionOk="0">
                    <a:moveTo>
                      <a:pt x="38100" y="79674"/>
                    </a:moveTo>
                    <a:cubicBezTo>
                      <a:pt x="20320" y="56179"/>
                      <a:pt x="8255" y="30144"/>
                      <a:pt x="0" y="2840"/>
                    </a:cubicBezTo>
                    <a:cubicBezTo>
                      <a:pt x="24130" y="-16210"/>
                      <a:pt x="48895" y="66340"/>
                      <a:pt x="38100" y="79674"/>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0" name="Google Shape;61;p2">
              <a:extLst>
                <a:ext uri="{FF2B5EF4-FFF2-40B4-BE49-F238E27FC236}">
                  <a16:creationId xmlns:a16="http://schemas.microsoft.com/office/drawing/2014/main" id="{4AF7C0F7-47FA-4AEE-B784-77502FF351F3}"/>
                </a:ext>
              </a:extLst>
            </p:cNvPr>
            <p:cNvGrpSpPr/>
            <p:nvPr/>
          </p:nvGrpSpPr>
          <p:grpSpPr>
            <a:xfrm>
              <a:off x="7439637" y="3918577"/>
              <a:ext cx="503800" cy="507307"/>
              <a:chOff x="7439637" y="3918577"/>
              <a:chExt cx="503800" cy="507307"/>
            </a:xfrm>
          </p:grpSpPr>
          <p:sp>
            <p:nvSpPr>
              <p:cNvPr id="86" name="Google Shape;62;p2">
                <a:extLst>
                  <a:ext uri="{FF2B5EF4-FFF2-40B4-BE49-F238E27FC236}">
                    <a16:creationId xmlns:a16="http://schemas.microsoft.com/office/drawing/2014/main" id="{46328B47-DA59-4652-A7F5-124DD21137EF}"/>
                  </a:ext>
                </a:extLst>
              </p:cNvPr>
              <p:cNvSpPr/>
              <p:nvPr/>
            </p:nvSpPr>
            <p:spPr>
              <a:xfrm>
                <a:off x="7547126" y="4133375"/>
                <a:ext cx="332324"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7" name="Google Shape;63;p2">
                <a:extLst>
                  <a:ext uri="{FF2B5EF4-FFF2-40B4-BE49-F238E27FC236}">
                    <a16:creationId xmlns:a16="http://schemas.microsoft.com/office/drawing/2014/main" id="{9199EEDB-BB7B-4A6E-ADD8-4E3E159896F8}"/>
                  </a:ext>
                </a:extLst>
              </p:cNvPr>
              <p:cNvSpPr/>
              <p:nvPr/>
            </p:nvSpPr>
            <p:spPr>
              <a:xfrm rot="-1109260">
                <a:off x="7493180" y="3971096"/>
                <a:ext cx="396713" cy="402269"/>
              </a:xfrm>
              <a:custGeom>
                <a:avLst/>
                <a:gdLst/>
                <a:ahLst/>
                <a:cxnLst/>
                <a:rect l="l" t="t" r="r" b="b"/>
                <a:pathLst>
                  <a:path w="461644" h="468109" extrusionOk="0">
                    <a:moveTo>
                      <a:pt x="313055" y="28998"/>
                    </a:moveTo>
                    <a:cubicBezTo>
                      <a:pt x="261620" y="-13547"/>
                      <a:pt x="187960" y="-4022"/>
                      <a:pt x="131445" y="23918"/>
                    </a:cubicBezTo>
                    <a:cubicBezTo>
                      <a:pt x="158750" y="209973"/>
                      <a:pt x="74295" y="277918"/>
                      <a:pt x="0" y="435398"/>
                    </a:cubicBezTo>
                    <a:cubicBezTo>
                      <a:pt x="26670" y="495088"/>
                      <a:pt x="107314" y="453178"/>
                      <a:pt x="158750" y="461433"/>
                    </a:cubicBezTo>
                    <a:cubicBezTo>
                      <a:pt x="257810" y="439208"/>
                      <a:pt x="367664" y="470323"/>
                      <a:pt x="461645" y="435398"/>
                    </a:cubicBezTo>
                    <a:cubicBezTo>
                      <a:pt x="369570" y="280458"/>
                      <a:pt x="297814" y="222038"/>
                      <a:pt x="313055" y="28998"/>
                    </a:cubicBezTo>
                    <a:close/>
                    <a:moveTo>
                      <a:pt x="270510" y="39158"/>
                    </a:moveTo>
                    <a:cubicBezTo>
                      <a:pt x="237489" y="54398"/>
                      <a:pt x="205105" y="51858"/>
                      <a:pt x="172085" y="38523"/>
                    </a:cubicBezTo>
                    <a:cubicBezTo>
                      <a:pt x="197485" y="14393"/>
                      <a:pt x="243205" y="16933"/>
                      <a:pt x="270510" y="39158"/>
                    </a:cubicBezTo>
                    <a:close/>
                    <a:moveTo>
                      <a:pt x="160655" y="63923"/>
                    </a:moveTo>
                    <a:cubicBezTo>
                      <a:pt x="203835" y="69638"/>
                      <a:pt x="242570" y="70273"/>
                      <a:pt x="287020" y="64558"/>
                    </a:cubicBezTo>
                    <a:cubicBezTo>
                      <a:pt x="301625" y="119803"/>
                      <a:pt x="283845" y="182033"/>
                      <a:pt x="306070" y="232833"/>
                    </a:cubicBezTo>
                    <a:cubicBezTo>
                      <a:pt x="314325" y="244898"/>
                      <a:pt x="330835" y="258868"/>
                      <a:pt x="321310" y="274743"/>
                    </a:cubicBezTo>
                    <a:cubicBezTo>
                      <a:pt x="258445" y="376978"/>
                      <a:pt x="194310" y="273473"/>
                      <a:pt x="116839" y="281728"/>
                    </a:cubicBezTo>
                    <a:cubicBezTo>
                      <a:pt x="172085" y="168063"/>
                      <a:pt x="155575" y="180763"/>
                      <a:pt x="160655" y="63923"/>
                    </a:cubicBezTo>
                    <a:close/>
                    <a:moveTo>
                      <a:pt x="350520" y="430318"/>
                    </a:moveTo>
                    <a:cubicBezTo>
                      <a:pt x="243839" y="425238"/>
                      <a:pt x="137795" y="444923"/>
                      <a:pt x="31750" y="441113"/>
                    </a:cubicBezTo>
                    <a:cubicBezTo>
                      <a:pt x="123189" y="141393"/>
                      <a:pt x="212089" y="450003"/>
                      <a:pt x="340360" y="284903"/>
                    </a:cubicBezTo>
                    <a:cubicBezTo>
                      <a:pt x="373380" y="329353"/>
                      <a:pt x="400685" y="368088"/>
                      <a:pt x="425450" y="415713"/>
                    </a:cubicBezTo>
                    <a:cubicBezTo>
                      <a:pt x="418464" y="425238"/>
                      <a:pt x="368935" y="431588"/>
                      <a:pt x="350520" y="430318"/>
                    </a:cubicBezTo>
                    <a:close/>
                    <a:moveTo>
                      <a:pt x="275589" y="413173"/>
                    </a:moveTo>
                    <a:cubicBezTo>
                      <a:pt x="280670" y="396663"/>
                      <a:pt x="275589" y="382058"/>
                      <a:pt x="274320" y="363643"/>
                    </a:cubicBezTo>
                    <a:cubicBezTo>
                      <a:pt x="203200" y="347768"/>
                      <a:pt x="209550" y="449368"/>
                      <a:pt x="275589" y="413173"/>
                    </a:cubicBezTo>
                    <a:close/>
                    <a:moveTo>
                      <a:pt x="250189" y="403648"/>
                    </a:moveTo>
                    <a:cubicBezTo>
                      <a:pt x="236855" y="403013"/>
                      <a:pt x="242570" y="390313"/>
                      <a:pt x="252095" y="387773"/>
                    </a:cubicBezTo>
                    <a:cubicBezTo>
                      <a:pt x="264160" y="389678"/>
                      <a:pt x="259714" y="403013"/>
                      <a:pt x="250189" y="403648"/>
                    </a:cubicBezTo>
                    <a:close/>
                    <a:moveTo>
                      <a:pt x="160020" y="336338"/>
                    </a:moveTo>
                    <a:cubicBezTo>
                      <a:pt x="121920" y="334433"/>
                      <a:pt x="120014" y="387138"/>
                      <a:pt x="158750" y="385233"/>
                    </a:cubicBezTo>
                    <a:cubicBezTo>
                      <a:pt x="191770" y="387773"/>
                      <a:pt x="194310" y="335703"/>
                      <a:pt x="160020" y="336338"/>
                    </a:cubicBezTo>
                    <a:close/>
                    <a:moveTo>
                      <a:pt x="153035" y="363008"/>
                    </a:moveTo>
                    <a:cubicBezTo>
                      <a:pt x="160020" y="361103"/>
                      <a:pt x="163830" y="354118"/>
                      <a:pt x="167639" y="365548"/>
                    </a:cubicBezTo>
                    <a:cubicBezTo>
                      <a:pt x="161289" y="366183"/>
                      <a:pt x="155575" y="370628"/>
                      <a:pt x="153035" y="363008"/>
                    </a:cubicBezTo>
                    <a:close/>
                    <a:moveTo>
                      <a:pt x="235585" y="262678"/>
                    </a:moveTo>
                    <a:cubicBezTo>
                      <a:pt x="268605" y="265218"/>
                      <a:pt x="281305" y="215053"/>
                      <a:pt x="240030" y="211243"/>
                    </a:cubicBezTo>
                    <a:cubicBezTo>
                      <a:pt x="203200" y="206798"/>
                      <a:pt x="203835" y="257598"/>
                      <a:pt x="235585" y="262678"/>
                    </a:cubicBezTo>
                    <a:close/>
                    <a:moveTo>
                      <a:pt x="248285" y="235373"/>
                    </a:moveTo>
                    <a:cubicBezTo>
                      <a:pt x="242570" y="240453"/>
                      <a:pt x="237489" y="246803"/>
                      <a:pt x="232410" y="238548"/>
                    </a:cubicBezTo>
                    <a:cubicBezTo>
                      <a:pt x="231139" y="228388"/>
                      <a:pt x="240664" y="230293"/>
                      <a:pt x="248285" y="235373"/>
                    </a:cubicBezTo>
                    <a:close/>
                    <a:moveTo>
                      <a:pt x="224155" y="133138"/>
                    </a:moveTo>
                    <a:cubicBezTo>
                      <a:pt x="224789" y="115993"/>
                      <a:pt x="196214" y="108373"/>
                      <a:pt x="193675" y="129328"/>
                    </a:cubicBezTo>
                    <a:cubicBezTo>
                      <a:pt x="190500" y="154093"/>
                      <a:pt x="222250" y="155998"/>
                      <a:pt x="224155" y="13313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1" name="Google Shape;64;p2">
              <a:extLst>
                <a:ext uri="{FF2B5EF4-FFF2-40B4-BE49-F238E27FC236}">
                  <a16:creationId xmlns:a16="http://schemas.microsoft.com/office/drawing/2014/main" id="{E59F448A-21CE-4C24-B920-61BB83D212B2}"/>
                </a:ext>
              </a:extLst>
            </p:cNvPr>
            <p:cNvSpPr/>
            <p:nvPr/>
          </p:nvSpPr>
          <p:spPr>
            <a:xfrm>
              <a:off x="6255960" y="791694"/>
              <a:ext cx="453103" cy="511439"/>
            </a:xfrm>
            <a:custGeom>
              <a:avLst/>
              <a:gdLst/>
              <a:ahLst/>
              <a:cxnLst/>
              <a:rect l="l" t="t" r="r" b="b"/>
              <a:pathLst>
                <a:path w="526864" h="594697" extrusionOk="0">
                  <a:moveTo>
                    <a:pt x="476936" y="348155"/>
                  </a:moveTo>
                  <a:cubicBezTo>
                    <a:pt x="414706" y="390065"/>
                    <a:pt x="352476" y="373555"/>
                    <a:pt x="427406" y="306880"/>
                  </a:cubicBezTo>
                  <a:cubicBezTo>
                    <a:pt x="588696" y="206550"/>
                    <a:pt x="435661" y="-15065"/>
                    <a:pt x="280086" y="810"/>
                  </a:cubicBezTo>
                  <a:cubicBezTo>
                    <a:pt x="137211" y="13510"/>
                    <a:pt x="14656" y="153845"/>
                    <a:pt x="51" y="293545"/>
                  </a:cubicBezTo>
                  <a:cubicBezTo>
                    <a:pt x="-3759" y="510080"/>
                    <a:pt x="205791" y="675815"/>
                    <a:pt x="402641" y="552625"/>
                  </a:cubicBezTo>
                  <a:cubicBezTo>
                    <a:pt x="461061" y="528495"/>
                    <a:pt x="601396" y="353870"/>
                    <a:pt x="476936" y="348155"/>
                  </a:cubicBezTo>
                  <a:close/>
                  <a:moveTo>
                    <a:pt x="205156" y="568500"/>
                  </a:moveTo>
                  <a:cubicBezTo>
                    <a:pt x="39421" y="529765"/>
                    <a:pt x="-27254" y="296085"/>
                    <a:pt x="67996" y="162735"/>
                  </a:cubicBezTo>
                  <a:cubicBezTo>
                    <a:pt x="139116" y="53515"/>
                    <a:pt x="294691" y="-44275"/>
                    <a:pt x="410896" y="59865"/>
                  </a:cubicBezTo>
                  <a:cubicBezTo>
                    <a:pt x="457251" y="97965"/>
                    <a:pt x="501066" y="170990"/>
                    <a:pt x="469316" y="230045"/>
                  </a:cubicBezTo>
                  <a:cubicBezTo>
                    <a:pt x="447726" y="280845"/>
                    <a:pt x="340411" y="315135"/>
                    <a:pt x="379146" y="376095"/>
                  </a:cubicBezTo>
                  <a:cubicBezTo>
                    <a:pt x="412801" y="414830"/>
                    <a:pt x="457886" y="371650"/>
                    <a:pt x="497256" y="369745"/>
                  </a:cubicBezTo>
                  <a:cubicBezTo>
                    <a:pt x="507416" y="503095"/>
                    <a:pt x="323901" y="594535"/>
                    <a:pt x="205156" y="568500"/>
                  </a:cubicBezTo>
                  <a:close/>
                  <a:moveTo>
                    <a:pt x="132766" y="332915"/>
                  </a:moveTo>
                  <a:cubicBezTo>
                    <a:pt x="154991" y="341805"/>
                    <a:pt x="200076" y="333550"/>
                    <a:pt x="181026" y="301165"/>
                  </a:cubicBezTo>
                  <a:cubicBezTo>
                    <a:pt x="172136" y="286560"/>
                    <a:pt x="167691" y="270050"/>
                    <a:pt x="172771" y="252270"/>
                  </a:cubicBezTo>
                  <a:cubicBezTo>
                    <a:pt x="176581" y="210995"/>
                    <a:pt x="122606" y="217345"/>
                    <a:pt x="95936" y="212900"/>
                  </a:cubicBezTo>
                  <a:cubicBezTo>
                    <a:pt x="30531" y="204645"/>
                    <a:pt x="20371" y="327200"/>
                    <a:pt x="76886" y="346885"/>
                  </a:cubicBezTo>
                  <a:cubicBezTo>
                    <a:pt x="96571" y="336090"/>
                    <a:pt x="109906" y="322755"/>
                    <a:pt x="132766" y="332915"/>
                  </a:cubicBezTo>
                  <a:close/>
                  <a:moveTo>
                    <a:pt x="283261" y="118920"/>
                  </a:moveTo>
                  <a:cubicBezTo>
                    <a:pt x="299771" y="35735"/>
                    <a:pt x="146101" y="25575"/>
                    <a:pt x="179756" y="118920"/>
                  </a:cubicBezTo>
                  <a:cubicBezTo>
                    <a:pt x="116256" y="200835"/>
                    <a:pt x="250241" y="230045"/>
                    <a:pt x="283261" y="118920"/>
                  </a:cubicBezTo>
                  <a:close/>
                  <a:moveTo>
                    <a:pt x="263576" y="96695"/>
                  </a:moveTo>
                  <a:cubicBezTo>
                    <a:pt x="261671" y="99870"/>
                    <a:pt x="260401" y="101775"/>
                    <a:pt x="259766" y="103045"/>
                  </a:cubicBezTo>
                  <a:cubicBezTo>
                    <a:pt x="249606" y="96060"/>
                    <a:pt x="253416" y="87170"/>
                    <a:pt x="263576" y="96695"/>
                  </a:cubicBezTo>
                  <a:close/>
                  <a:moveTo>
                    <a:pt x="229286" y="144320"/>
                  </a:moveTo>
                  <a:cubicBezTo>
                    <a:pt x="232461" y="131620"/>
                    <a:pt x="239446" y="126540"/>
                    <a:pt x="255321" y="121460"/>
                  </a:cubicBezTo>
                  <a:cubicBezTo>
                    <a:pt x="248336" y="136065"/>
                    <a:pt x="245161" y="146225"/>
                    <a:pt x="229286" y="144320"/>
                  </a:cubicBezTo>
                  <a:close/>
                  <a:moveTo>
                    <a:pt x="201346" y="404035"/>
                  </a:moveTo>
                  <a:cubicBezTo>
                    <a:pt x="199441" y="358315"/>
                    <a:pt x="131496" y="364030"/>
                    <a:pt x="106731" y="386890"/>
                  </a:cubicBezTo>
                  <a:cubicBezTo>
                    <a:pt x="81331" y="451660"/>
                    <a:pt x="128956" y="520240"/>
                    <a:pt x="190551" y="461185"/>
                  </a:cubicBezTo>
                  <a:cubicBezTo>
                    <a:pt x="208966" y="445945"/>
                    <a:pt x="200076" y="424355"/>
                    <a:pt x="201346" y="404035"/>
                  </a:cubicBezTo>
                  <a:close/>
                  <a:moveTo>
                    <a:pt x="424866" y="139875"/>
                  </a:moveTo>
                  <a:cubicBezTo>
                    <a:pt x="413436" y="53515"/>
                    <a:pt x="334696" y="68120"/>
                    <a:pt x="334061" y="151305"/>
                  </a:cubicBezTo>
                  <a:cubicBezTo>
                    <a:pt x="334061" y="216075"/>
                    <a:pt x="445821" y="205915"/>
                    <a:pt x="424866" y="139875"/>
                  </a:cubicBezTo>
                  <a:close/>
                  <a:moveTo>
                    <a:pt x="259131" y="467535"/>
                  </a:moveTo>
                  <a:cubicBezTo>
                    <a:pt x="194361" y="477060"/>
                    <a:pt x="205156" y="565960"/>
                    <a:pt x="274371" y="560880"/>
                  </a:cubicBezTo>
                  <a:cubicBezTo>
                    <a:pt x="332791" y="531035"/>
                    <a:pt x="342316" y="461185"/>
                    <a:pt x="259131" y="467535"/>
                  </a:cubicBezTo>
                  <a:close/>
                  <a:moveTo>
                    <a:pt x="410261" y="407210"/>
                  </a:moveTo>
                  <a:cubicBezTo>
                    <a:pt x="370891" y="406575"/>
                    <a:pt x="327711" y="466265"/>
                    <a:pt x="364541" y="497380"/>
                  </a:cubicBezTo>
                  <a:cubicBezTo>
                    <a:pt x="418516" y="538655"/>
                    <a:pt x="504876" y="406575"/>
                    <a:pt x="410261" y="407210"/>
                  </a:cubicBezTo>
                  <a:close/>
                  <a:moveTo>
                    <a:pt x="390576" y="483410"/>
                  </a:moveTo>
                  <a:cubicBezTo>
                    <a:pt x="351206" y="484680"/>
                    <a:pt x="389306" y="425625"/>
                    <a:pt x="413436" y="428165"/>
                  </a:cubicBezTo>
                  <a:cubicBezTo>
                    <a:pt x="455346" y="434515"/>
                    <a:pt x="410261" y="476425"/>
                    <a:pt x="390576" y="4834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2" name="Google Shape;65;p2">
              <a:extLst>
                <a:ext uri="{FF2B5EF4-FFF2-40B4-BE49-F238E27FC236}">
                  <a16:creationId xmlns:a16="http://schemas.microsoft.com/office/drawing/2014/main" id="{527558DB-1967-464C-A148-6CC493D60684}"/>
                </a:ext>
              </a:extLst>
            </p:cNvPr>
            <p:cNvSpPr/>
            <p:nvPr/>
          </p:nvSpPr>
          <p:spPr>
            <a:xfrm rot="1799564">
              <a:off x="7155158" y="4556613"/>
              <a:ext cx="351219" cy="440001"/>
            </a:xfrm>
            <a:custGeom>
              <a:avLst/>
              <a:gdLst/>
              <a:ahLst/>
              <a:cxnLst/>
              <a:rect l="l" t="t" r="r" b="b"/>
              <a:pathLst>
                <a:path w="408305" h="511517" extrusionOk="0">
                  <a:moveTo>
                    <a:pt x="89536" y="14843"/>
                  </a:moveTo>
                  <a:cubicBezTo>
                    <a:pt x="68580" y="20558"/>
                    <a:pt x="76200" y="45323"/>
                    <a:pt x="70486" y="61198"/>
                  </a:cubicBezTo>
                  <a:cubicBezTo>
                    <a:pt x="48261" y="207248"/>
                    <a:pt x="12700" y="352663"/>
                    <a:pt x="0" y="499348"/>
                  </a:cubicBezTo>
                  <a:cubicBezTo>
                    <a:pt x="80011" y="540623"/>
                    <a:pt x="333375" y="470138"/>
                    <a:pt x="377190" y="389493"/>
                  </a:cubicBezTo>
                  <a:cubicBezTo>
                    <a:pt x="321945" y="291068"/>
                    <a:pt x="245111" y="207248"/>
                    <a:pt x="178436" y="117078"/>
                  </a:cubicBezTo>
                  <a:cubicBezTo>
                    <a:pt x="146050" y="88503"/>
                    <a:pt x="130811" y="26273"/>
                    <a:pt x="89536" y="14843"/>
                  </a:cubicBezTo>
                  <a:close/>
                  <a:moveTo>
                    <a:pt x="344805" y="390763"/>
                  </a:moveTo>
                  <a:cubicBezTo>
                    <a:pt x="313055" y="461248"/>
                    <a:pt x="111761" y="499348"/>
                    <a:pt x="36830" y="494268"/>
                  </a:cubicBezTo>
                  <a:cubicBezTo>
                    <a:pt x="33655" y="423148"/>
                    <a:pt x="287655" y="318373"/>
                    <a:pt x="344805" y="390763"/>
                  </a:cubicBezTo>
                  <a:close/>
                  <a:moveTo>
                    <a:pt x="184150" y="362188"/>
                  </a:moveTo>
                  <a:cubicBezTo>
                    <a:pt x="176530" y="351393"/>
                    <a:pt x="170180" y="341868"/>
                    <a:pt x="161290" y="329803"/>
                  </a:cubicBezTo>
                  <a:cubicBezTo>
                    <a:pt x="150495" y="343773"/>
                    <a:pt x="154305" y="353933"/>
                    <a:pt x="156211" y="369808"/>
                  </a:cubicBezTo>
                  <a:cubicBezTo>
                    <a:pt x="114300" y="394573"/>
                    <a:pt x="70486" y="415528"/>
                    <a:pt x="33655" y="447913"/>
                  </a:cubicBezTo>
                  <a:cubicBezTo>
                    <a:pt x="18415" y="439023"/>
                    <a:pt x="32386" y="417433"/>
                    <a:pt x="31750" y="403463"/>
                  </a:cubicBezTo>
                  <a:cubicBezTo>
                    <a:pt x="55880" y="288528"/>
                    <a:pt x="65405" y="170418"/>
                    <a:pt x="95886" y="57388"/>
                  </a:cubicBezTo>
                  <a:cubicBezTo>
                    <a:pt x="111125" y="52308"/>
                    <a:pt x="112395" y="68183"/>
                    <a:pt x="118111" y="78978"/>
                  </a:cubicBezTo>
                  <a:cubicBezTo>
                    <a:pt x="111761" y="80883"/>
                    <a:pt x="104775" y="82153"/>
                    <a:pt x="97155" y="84693"/>
                  </a:cubicBezTo>
                  <a:cubicBezTo>
                    <a:pt x="99695" y="98663"/>
                    <a:pt x="100330" y="123428"/>
                    <a:pt x="120015" y="112633"/>
                  </a:cubicBezTo>
                  <a:cubicBezTo>
                    <a:pt x="121286" y="104378"/>
                    <a:pt x="123190" y="96123"/>
                    <a:pt x="124461" y="87233"/>
                  </a:cubicBezTo>
                  <a:cubicBezTo>
                    <a:pt x="189230" y="173593"/>
                    <a:pt x="263525" y="252968"/>
                    <a:pt x="317500" y="346948"/>
                  </a:cubicBezTo>
                  <a:cubicBezTo>
                    <a:pt x="271780" y="346313"/>
                    <a:pt x="229870" y="353933"/>
                    <a:pt x="184150" y="362188"/>
                  </a:cubicBezTo>
                  <a:close/>
                  <a:moveTo>
                    <a:pt x="326390" y="268208"/>
                  </a:moveTo>
                  <a:cubicBezTo>
                    <a:pt x="326390" y="285988"/>
                    <a:pt x="349250" y="302498"/>
                    <a:pt x="354330" y="321548"/>
                  </a:cubicBezTo>
                  <a:cubicBezTo>
                    <a:pt x="360680" y="330438"/>
                    <a:pt x="370205" y="339328"/>
                    <a:pt x="382270" y="330438"/>
                  </a:cubicBezTo>
                  <a:cubicBezTo>
                    <a:pt x="373380" y="307578"/>
                    <a:pt x="350520" y="297418"/>
                    <a:pt x="344805" y="272018"/>
                  </a:cubicBezTo>
                  <a:cubicBezTo>
                    <a:pt x="341630" y="264398"/>
                    <a:pt x="332740" y="265033"/>
                    <a:pt x="326390" y="268208"/>
                  </a:cubicBezTo>
                  <a:close/>
                  <a:moveTo>
                    <a:pt x="160020" y="26908"/>
                  </a:moveTo>
                  <a:cubicBezTo>
                    <a:pt x="147320" y="1508"/>
                    <a:pt x="137161" y="-8652"/>
                    <a:pt x="119380" y="8493"/>
                  </a:cubicBezTo>
                  <a:cubicBezTo>
                    <a:pt x="132715" y="18653"/>
                    <a:pt x="144145" y="46593"/>
                    <a:pt x="160020" y="26908"/>
                  </a:cubicBezTo>
                  <a:close/>
                  <a:moveTo>
                    <a:pt x="280670" y="188198"/>
                  </a:moveTo>
                  <a:cubicBezTo>
                    <a:pt x="285115" y="164068"/>
                    <a:pt x="281305" y="158353"/>
                    <a:pt x="252730" y="155813"/>
                  </a:cubicBezTo>
                  <a:cubicBezTo>
                    <a:pt x="259080" y="172323"/>
                    <a:pt x="266700" y="182483"/>
                    <a:pt x="280670" y="188198"/>
                  </a:cubicBezTo>
                  <a:close/>
                  <a:moveTo>
                    <a:pt x="245111" y="131683"/>
                  </a:moveTo>
                  <a:cubicBezTo>
                    <a:pt x="254636" y="116443"/>
                    <a:pt x="235586" y="105648"/>
                    <a:pt x="218440" y="110093"/>
                  </a:cubicBezTo>
                  <a:cubicBezTo>
                    <a:pt x="226061" y="126603"/>
                    <a:pt x="231775" y="138033"/>
                    <a:pt x="245111" y="131683"/>
                  </a:cubicBezTo>
                  <a:close/>
                  <a:moveTo>
                    <a:pt x="290830" y="209788"/>
                  </a:moveTo>
                  <a:cubicBezTo>
                    <a:pt x="284480" y="219313"/>
                    <a:pt x="295275" y="227568"/>
                    <a:pt x="300990" y="234553"/>
                  </a:cubicBezTo>
                  <a:cubicBezTo>
                    <a:pt x="328295" y="239633"/>
                    <a:pt x="310515" y="205343"/>
                    <a:pt x="290830" y="209788"/>
                  </a:cubicBezTo>
                  <a:close/>
                  <a:moveTo>
                    <a:pt x="202565" y="76438"/>
                  </a:moveTo>
                  <a:cubicBezTo>
                    <a:pt x="202565" y="63103"/>
                    <a:pt x="183515" y="56118"/>
                    <a:pt x="176530" y="65643"/>
                  </a:cubicBezTo>
                  <a:cubicBezTo>
                    <a:pt x="174625" y="77708"/>
                    <a:pt x="193040" y="87233"/>
                    <a:pt x="202565" y="76438"/>
                  </a:cubicBezTo>
                  <a:close/>
                  <a:moveTo>
                    <a:pt x="389890" y="366633"/>
                  </a:moveTo>
                  <a:cubicBezTo>
                    <a:pt x="393700" y="375523"/>
                    <a:pt x="399415" y="371078"/>
                    <a:pt x="408305" y="366633"/>
                  </a:cubicBezTo>
                  <a:cubicBezTo>
                    <a:pt x="398145" y="357743"/>
                    <a:pt x="395605" y="355838"/>
                    <a:pt x="389890" y="366633"/>
                  </a:cubicBezTo>
                  <a:close/>
                  <a:moveTo>
                    <a:pt x="119380" y="157718"/>
                  </a:moveTo>
                  <a:cubicBezTo>
                    <a:pt x="102870" y="164703"/>
                    <a:pt x="128905" y="203438"/>
                    <a:pt x="139700" y="179308"/>
                  </a:cubicBezTo>
                  <a:cubicBezTo>
                    <a:pt x="134620" y="170418"/>
                    <a:pt x="132715" y="155178"/>
                    <a:pt x="119380" y="157718"/>
                  </a:cubicBezTo>
                  <a:close/>
                  <a:moveTo>
                    <a:pt x="146686" y="244078"/>
                  </a:moveTo>
                  <a:cubicBezTo>
                    <a:pt x="157480" y="238998"/>
                    <a:pt x="151130" y="216773"/>
                    <a:pt x="139700" y="214868"/>
                  </a:cubicBezTo>
                  <a:cubicBezTo>
                    <a:pt x="126365" y="219313"/>
                    <a:pt x="131445" y="247888"/>
                    <a:pt x="146686" y="244078"/>
                  </a:cubicBezTo>
                  <a:close/>
                  <a:moveTo>
                    <a:pt x="142875" y="287258"/>
                  </a:moveTo>
                  <a:cubicBezTo>
                    <a:pt x="142875" y="305673"/>
                    <a:pt x="164465" y="305673"/>
                    <a:pt x="163195" y="289798"/>
                  </a:cubicBezTo>
                  <a:cubicBezTo>
                    <a:pt x="161290" y="275828"/>
                    <a:pt x="147320" y="277098"/>
                    <a:pt x="142875" y="287258"/>
                  </a:cubicBezTo>
                  <a:close/>
                  <a:moveTo>
                    <a:pt x="172086" y="402193"/>
                  </a:moveTo>
                  <a:cubicBezTo>
                    <a:pt x="160655" y="407908"/>
                    <a:pt x="168911" y="423783"/>
                    <a:pt x="180975" y="426323"/>
                  </a:cubicBezTo>
                  <a:cubicBezTo>
                    <a:pt x="191136" y="415528"/>
                    <a:pt x="185420" y="402193"/>
                    <a:pt x="172086" y="402193"/>
                  </a:cubicBezTo>
                  <a:close/>
                  <a:moveTo>
                    <a:pt x="187961" y="447913"/>
                  </a:moveTo>
                  <a:cubicBezTo>
                    <a:pt x="184786" y="451088"/>
                    <a:pt x="182245" y="453628"/>
                    <a:pt x="180340" y="456168"/>
                  </a:cubicBezTo>
                  <a:cubicBezTo>
                    <a:pt x="187961" y="468868"/>
                    <a:pt x="201930" y="458073"/>
                    <a:pt x="187961" y="44791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3" name="Google Shape;66;p2">
              <a:extLst>
                <a:ext uri="{FF2B5EF4-FFF2-40B4-BE49-F238E27FC236}">
                  <a16:creationId xmlns:a16="http://schemas.microsoft.com/office/drawing/2014/main" id="{6696EF14-D5CC-40FA-AFFE-9EE05B54F2CD}"/>
                </a:ext>
              </a:extLst>
            </p:cNvPr>
            <p:cNvGrpSpPr/>
            <p:nvPr/>
          </p:nvGrpSpPr>
          <p:grpSpPr>
            <a:xfrm>
              <a:off x="7413193" y="740389"/>
              <a:ext cx="289739" cy="482318"/>
              <a:chOff x="4912930" y="846902"/>
              <a:chExt cx="289739" cy="482318"/>
            </a:xfrm>
          </p:grpSpPr>
          <p:sp>
            <p:nvSpPr>
              <p:cNvPr id="84" name="Google Shape;67;p2">
                <a:extLst>
                  <a:ext uri="{FF2B5EF4-FFF2-40B4-BE49-F238E27FC236}">
                    <a16:creationId xmlns:a16="http://schemas.microsoft.com/office/drawing/2014/main" id="{B789A9D7-7032-492B-8E88-FAAFF213085F}"/>
                  </a:ext>
                </a:extLst>
              </p:cNvPr>
              <p:cNvSpPr/>
              <p:nvPr/>
            </p:nvSpPr>
            <p:spPr>
              <a:xfrm rot="-539734">
                <a:off x="4946894" y="1102828"/>
                <a:ext cx="216728" cy="21074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5" name="Google Shape;68;p2">
                <a:extLst>
                  <a:ext uri="{FF2B5EF4-FFF2-40B4-BE49-F238E27FC236}">
                    <a16:creationId xmlns:a16="http://schemas.microsoft.com/office/drawing/2014/main" id="{04D6CFDC-9538-4D9F-8FF0-4602FECC44E8}"/>
                  </a:ext>
                </a:extLst>
              </p:cNvPr>
              <p:cNvSpPr/>
              <p:nvPr/>
            </p:nvSpPr>
            <p:spPr>
              <a:xfrm>
                <a:off x="4912930" y="846902"/>
                <a:ext cx="289739" cy="456235"/>
              </a:xfrm>
              <a:custGeom>
                <a:avLst/>
                <a:gdLst/>
                <a:ahLst/>
                <a:cxnLst/>
                <a:rect l="l" t="t" r="r" b="b"/>
                <a:pathLst>
                  <a:path w="336906" h="530506" extrusionOk="0">
                    <a:moveTo>
                      <a:pt x="136525" y="96168"/>
                    </a:moveTo>
                    <a:cubicBezTo>
                      <a:pt x="113030" y="223803"/>
                      <a:pt x="24130" y="329848"/>
                      <a:pt x="0" y="458118"/>
                    </a:cubicBezTo>
                    <a:cubicBezTo>
                      <a:pt x="60960" y="713388"/>
                      <a:pt x="264795" y="217453"/>
                      <a:pt x="278765" y="141253"/>
                    </a:cubicBezTo>
                    <a:cubicBezTo>
                      <a:pt x="291465" y="75213"/>
                      <a:pt x="152400" y="18698"/>
                      <a:pt x="136525" y="96168"/>
                    </a:cubicBezTo>
                    <a:close/>
                    <a:moveTo>
                      <a:pt x="69850" y="504473"/>
                    </a:moveTo>
                    <a:cubicBezTo>
                      <a:pt x="-16510" y="531778"/>
                      <a:pt x="43815" y="378743"/>
                      <a:pt x="63500" y="342548"/>
                    </a:cubicBezTo>
                    <a:cubicBezTo>
                      <a:pt x="111760" y="336833"/>
                      <a:pt x="138430" y="339373"/>
                      <a:pt x="164465" y="352073"/>
                    </a:cubicBezTo>
                    <a:cubicBezTo>
                      <a:pt x="137795" y="404778"/>
                      <a:pt x="107315" y="458753"/>
                      <a:pt x="69850" y="504473"/>
                    </a:cubicBezTo>
                    <a:close/>
                    <a:moveTo>
                      <a:pt x="182245" y="318418"/>
                    </a:moveTo>
                    <a:cubicBezTo>
                      <a:pt x="149860" y="327308"/>
                      <a:pt x="116205" y="321593"/>
                      <a:pt x="80645" y="319053"/>
                    </a:cubicBezTo>
                    <a:cubicBezTo>
                      <a:pt x="100330" y="253013"/>
                      <a:pt x="133350" y="192053"/>
                      <a:pt x="159385" y="127918"/>
                    </a:cubicBezTo>
                    <a:cubicBezTo>
                      <a:pt x="189230" y="139348"/>
                      <a:pt x="217170" y="150143"/>
                      <a:pt x="245110" y="161573"/>
                    </a:cubicBezTo>
                    <a:cubicBezTo>
                      <a:pt x="244475" y="190148"/>
                      <a:pt x="216535" y="259998"/>
                      <a:pt x="182245" y="318418"/>
                    </a:cubicBezTo>
                    <a:close/>
                    <a:moveTo>
                      <a:pt x="248285" y="134268"/>
                    </a:moveTo>
                    <a:cubicBezTo>
                      <a:pt x="222885" y="140618"/>
                      <a:pt x="121920" y="93628"/>
                      <a:pt x="187960" y="80928"/>
                    </a:cubicBezTo>
                    <a:cubicBezTo>
                      <a:pt x="208915" y="83468"/>
                      <a:pt x="281940" y="105693"/>
                      <a:pt x="248285" y="134268"/>
                    </a:cubicBezTo>
                    <a:close/>
                    <a:moveTo>
                      <a:pt x="295275" y="283"/>
                    </a:moveTo>
                    <a:cubicBezTo>
                      <a:pt x="224155" y="-6067"/>
                      <a:pt x="259715" y="96803"/>
                      <a:pt x="311785" y="73308"/>
                    </a:cubicBezTo>
                    <a:cubicBezTo>
                      <a:pt x="353695" y="53623"/>
                      <a:pt x="339725" y="-1622"/>
                      <a:pt x="295275" y="283"/>
                    </a:cubicBezTo>
                    <a:close/>
                    <a:moveTo>
                      <a:pt x="274320" y="30763"/>
                    </a:moveTo>
                    <a:cubicBezTo>
                      <a:pt x="290830" y="26318"/>
                      <a:pt x="303530" y="14253"/>
                      <a:pt x="317500" y="26318"/>
                    </a:cubicBezTo>
                    <a:cubicBezTo>
                      <a:pt x="329565" y="56163"/>
                      <a:pt x="273685" y="75848"/>
                      <a:pt x="274320" y="30763"/>
                    </a:cubicBezTo>
                    <a:close/>
                    <a:moveTo>
                      <a:pt x="210820" y="187608"/>
                    </a:moveTo>
                    <a:cubicBezTo>
                      <a:pt x="212090" y="151413"/>
                      <a:pt x="158115" y="146333"/>
                      <a:pt x="156210" y="186338"/>
                    </a:cubicBezTo>
                    <a:cubicBezTo>
                      <a:pt x="155575" y="216183"/>
                      <a:pt x="209550" y="217453"/>
                      <a:pt x="210820" y="187608"/>
                    </a:cubicBezTo>
                    <a:close/>
                    <a:moveTo>
                      <a:pt x="187960" y="180623"/>
                    </a:moveTo>
                    <a:cubicBezTo>
                      <a:pt x="193040" y="185068"/>
                      <a:pt x="189230" y="186973"/>
                      <a:pt x="186055" y="190783"/>
                    </a:cubicBezTo>
                    <a:cubicBezTo>
                      <a:pt x="179705" y="185068"/>
                      <a:pt x="183515" y="184433"/>
                      <a:pt x="187960" y="180623"/>
                    </a:cubicBezTo>
                    <a:close/>
                    <a:moveTo>
                      <a:pt x="167005" y="229518"/>
                    </a:moveTo>
                    <a:cubicBezTo>
                      <a:pt x="139700" y="230153"/>
                      <a:pt x="128270" y="275873"/>
                      <a:pt x="164465" y="276508"/>
                    </a:cubicBezTo>
                    <a:cubicBezTo>
                      <a:pt x="196215" y="277143"/>
                      <a:pt x="193675" y="232058"/>
                      <a:pt x="167005" y="22951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4" name="Google Shape;69;p2">
              <a:extLst>
                <a:ext uri="{FF2B5EF4-FFF2-40B4-BE49-F238E27FC236}">
                  <a16:creationId xmlns:a16="http://schemas.microsoft.com/office/drawing/2014/main" id="{FF13580C-CB14-4338-9AB3-16D33D789C93}"/>
                </a:ext>
              </a:extLst>
            </p:cNvPr>
            <p:cNvSpPr/>
            <p:nvPr/>
          </p:nvSpPr>
          <p:spPr>
            <a:xfrm>
              <a:off x="7082287" y="-53997"/>
              <a:ext cx="602898" cy="641121"/>
            </a:xfrm>
            <a:custGeom>
              <a:avLst/>
              <a:gdLst/>
              <a:ahLst/>
              <a:cxnLst/>
              <a:rect l="l" t="t" r="r" b="b"/>
              <a:pathLst>
                <a:path w="701044" h="745490" extrusionOk="0">
                  <a:moveTo>
                    <a:pt x="690343" y="116840"/>
                  </a:moveTo>
                  <a:cubicBezTo>
                    <a:pt x="663037" y="55245"/>
                    <a:pt x="674468" y="90170"/>
                    <a:pt x="624302" y="72390"/>
                  </a:cubicBezTo>
                  <a:cubicBezTo>
                    <a:pt x="483968" y="55880"/>
                    <a:pt x="352522" y="0"/>
                    <a:pt x="209647" y="0"/>
                  </a:cubicBezTo>
                  <a:cubicBezTo>
                    <a:pt x="-38003" y="735330"/>
                    <a:pt x="-186592" y="579120"/>
                    <a:pt x="475712" y="745490"/>
                  </a:cubicBezTo>
                  <a:cubicBezTo>
                    <a:pt x="548102" y="622935"/>
                    <a:pt x="579218" y="475615"/>
                    <a:pt x="631922" y="342900"/>
                  </a:cubicBezTo>
                  <a:cubicBezTo>
                    <a:pt x="640812" y="299720"/>
                    <a:pt x="731618" y="134620"/>
                    <a:pt x="690343" y="116840"/>
                  </a:cubicBezTo>
                  <a:close/>
                  <a:moveTo>
                    <a:pt x="219172" y="41275"/>
                  </a:moveTo>
                  <a:cubicBezTo>
                    <a:pt x="230602" y="-11430"/>
                    <a:pt x="585568" y="92075"/>
                    <a:pt x="641447" y="107950"/>
                  </a:cubicBezTo>
                  <a:cubicBezTo>
                    <a:pt x="585568" y="295910"/>
                    <a:pt x="517622" y="479425"/>
                    <a:pt x="438247" y="658495"/>
                  </a:cubicBezTo>
                  <a:cubicBezTo>
                    <a:pt x="294102" y="639445"/>
                    <a:pt x="169643" y="583565"/>
                    <a:pt x="30577" y="553085"/>
                  </a:cubicBezTo>
                  <a:cubicBezTo>
                    <a:pt x="79472" y="377190"/>
                    <a:pt x="160118" y="213995"/>
                    <a:pt x="219172" y="41275"/>
                  </a:cubicBezTo>
                  <a:close/>
                  <a:moveTo>
                    <a:pt x="612872" y="333375"/>
                  </a:moveTo>
                  <a:cubicBezTo>
                    <a:pt x="569058" y="462280"/>
                    <a:pt x="518893" y="588010"/>
                    <a:pt x="469997" y="715645"/>
                  </a:cubicBezTo>
                  <a:cubicBezTo>
                    <a:pt x="320772" y="690245"/>
                    <a:pt x="174087" y="657860"/>
                    <a:pt x="30577" y="610235"/>
                  </a:cubicBezTo>
                  <a:cubicBezTo>
                    <a:pt x="24227" y="600710"/>
                    <a:pt x="22958" y="591820"/>
                    <a:pt x="30577" y="581660"/>
                  </a:cubicBezTo>
                  <a:cubicBezTo>
                    <a:pt x="151227" y="589915"/>
                    <a:pt x="265527" y="648335"/>
                    <a:pt x="384272" y="674370"/>
                  </a:cubicBezTo>
                  <a:cubicBezTo>
                    <a:pt x="461108" y="708025"/>
                    <a:pt x="464283" y="661035"/>
                    <a:pt x="487143" y="600710"/>
                  </a:cubicBezTo>
                  <a:cubicBezTo>
                    <a:pt x="563343" y="445770"/>
                    <a:pt x="599537" y="280035"/>
                    <a:pt x="664943" y="121920"/>
                  </a:cubicBezTo>
                  <a:cubicBezTo>
                    <a:pt x="691612" y="187960"/>
                    <a:pt x="622397" y="264795"/>
                    <a:pt x="612872" y="333375"/>
                  </a:cubicBezTo>
                  <a:close/>
                  <a:moveTo>
                    <a:pt x="533497" y="298450"/>
                  </a:moveTo>
                  <a:cubicBezTo>
                    <a:pt x="540483" y="255270"/>
                    <a:pt x="596362" y="196850"/>
                    <a:pt x="565883" y="157480"/>
                  </a:cubicBezTo>
                  <a:cubicBezTo>
                    <a:pt x="503018" y="130810"/>
                    <a:pt x="431262" y="120650"/>
                    <a:pt x="363952" y="105410"/>
                  </a:cubicBezTo>
                  <a:cubicBezTo>
                    <a:pt x="329662" y="93980"/>
                    <a:pt x="291562" y="78105"/>
                    <a:pt x="254733" y="90805"/>
                  </a:cubicBezTo>
                  <a:cubicBezTo>
                    <a:pt x="231872" y="146685"/>
                    <a:pt x="221712" y="208280"/>
                    <a:pt x="191233" y="264160"/>
                  </a:cubicBezTo>
                  <a:cubicBezTo>
                    <a:pt x="285847" y="318135"/>
                    <a:pt x="410308" y="321310"/>
                    <a:pt x="511908" y="368300"/>
                  </a:cubicBezTo>
                  <a:cubicBezTo>
                    <a:pt x="534768" y="354965"/>
                    <a:pt x="522702" y="320040"/>
                    <a:pt x="533497" y="298450"/>
                  </a:cubicBezTo>
                  <a:close/>
                  <a:moveTo>
                    <a:pt x="224252" y="257175"/>
                  </a:moveTo>
                  <a:cubicBezTo>
                    <a:pt x="268702" y="73025"/>
                    <a:pt x="257272" y="105410"/>
                    <a:pt x="427452" y="140335"/>
                  </a:cubicBezTo>
                  <a:cubicBezTo>
                    <a:pt x="619222" y="183515"/>
                    <a:pt x="536037" y="178435"/>
                    <a:pt x="504287" y="334010"/>
                  </a:cubicBezTo>
                  <a:cubicBezTo>
                    <a:pt x="408402" y="320040"/>
                    <a:pt x="312518" y="288290"/>
                    <a:pt x="224252" y="257175"/>
                  </a:cubicBezTo>
                  <a:close/>
                  <a:moveTo>
                    <a:pt x="297912" y="153670"/>
                  </a:moveTo>
                  <a:cubicBezTo>
                    <a:pt x="239493" y="175260"/>
                    <a:pt x="427452" y="197485"/>
                    <a:pt x="442693" y="207645"/>
                  </a:cubicBezTo>
                  <a:cubicBezTo>
                    <a:pt x="456662" y="171450"/>
                    <a:pt x="325218" y="168275"/>
                    <a:pt x="297912" y="153670"/>
                  </a:cubicBezTo>
                  <a:close/>
                  <a:moveTo>
                    <a:pt x="280768" y="226060"/>
                  </a:moveTo>
                  <a:cubicBezTo>
                    <a:pt x="305533" y="227965"/>
                    <a:pt x="325852" y="247650"/>
                    <a:pt x="348077" y="226695"/>
                  </a:cubicBezTo>
                  <a:cubicBezTo>
                    <a:pt x="327122" y="221615"/>
                    <a:pt x="259812" y="190500"/>
                    <a:pt x="280768" y="2260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5" name="Google Shape;70;p2">
              <a:extLst>
                <a:ext uri="{FF2B5EF4-FFF2-40B4-BE49-F238E27FC236}">
                  <a16:creationId xmlns:a16="http://schemas.microsoft.com/office/drawing/2014/main" id="{E5A5B5C8-FD14-4385-AE28-FC4CE101CBF1}"/>
                </a:ext>
              </a:extLst>
            </p:cNvPr>
            <p:cNvSpPr/>
            <p:nvPr/>
          </p:nvSpPr>
          <p:spPr>
            <a:xfrm>
              <a:off x="4981978" y="271723"/>
              <a:ext cx="738779" cy="460515"/>
            </a:xfrm>
            <a:custGeom>
              <a:avLst/>
              <a:gdLst/>
              <a:ahLst/>
              <a:cxnLst/>
              <a:rect l="l" t="t" r="r" b="b"/>
              <a:pathLst>
                <a:path w="859045" h="535482" extrusionOk="0">
                  <a:moveTo>
                    <a:pt x="588002" y="328160"/>
                  </a:moveTo>
                  <a:cubicBezTo>
                    <a:pt x="447667" y="234815"/>
                    <a:pt x="414647" y="298950"/>
                    <a:pt x="312412" y="268470"/>
                  </a:cubicBezTo>
                  <a:cubicBezTo>
                    <a:pt x="254627" y="231640"/>
                    <a:pt x="209542" y="179570"/>
                    <a:pt x="135247" y="175760"/>
                  </a:cubicBezTo>
                  <a:cubicBezTo>
                    <a:pt x="168267" y="137660"/>
                    <a:pt x="314952" y="51935"/>
                    <a:pt x="353052" y="104640"/>
                  </a:cubicBezTo>
                  <a:cubicBezTo>
                    <a:pt x="377182" y="131310"/>
                    <a:pt x="401947" y="37965"/>
                    <a:pt x="394962" y="25265"/>
                  </a:cubicBezTo>
                  <a:cubicBezTo>
                    <a:pt x="337812" y="-50935"/>
                    <a:pt x="224782" y="67175"/>
                    <a:pt x="161282" y="91940"/>
                  </a:cubicBezTo>
                  <a:cubicBezTo>
                    <a:pt x="116832" y="124325"/>
                    <a:pt x="52697" y="142105"/>
                    <a:pt x="22852" y="189730"/>
                  </a:cubicBezTo>
                  <a:cubicBezTo>
                    <a:pt x="10787" y="253230"/>
                    <a:pt x="-31758" y="349115"/>
                    <a:pt x="43807" y="387215"/>
                  </a:cubicBezTo>
                  <a:cubicBezTo>
                    <a:pt x="95877" y="407535"/>
                    <a:pt x="179697" y="445000"/>
                    <a:pt x="226052" y="402455"/>
                  </a:cubicBezTo>
                  <a:cubicBezTo>
                    <a:pt x="252087" y="370070"/>
                    <a:pt x="276852" y="313555"/>
                    <a:pt x="325747" y="344035"/>
                  </a:cubicBezTo>
                  <a:cubicBezTo>
                    <a:pt x="344162" y="391660"/>
                    <a:pt x="297807" y="450715"/>
                    <a:pt x="356227" y="485640"/>
                  </a:cubicBezTo>
                  <a:cubicBezTo>
                    <a:pt x="408932" y="513580"/>
                    <a:pt x="501642" y="562475"/>
                    <a:pt x="552442" y="516755"/>
                  </a:cubicBezTo>
                  <a:cubicBezTo>
                    <a:pt x="594352" y="462145"/>
                    <a:pt x="588002" y="377690"/>
                    <a:pt x="659122" y="346575"/>
                  </a:cubicBezTo>
                  <a:cubicBezTo>
                    <a:pt x="711827" y="330065"/>
                    <a:pt x="769612" y="267200"/>
                    <a:pt x="825492" y="298315"/>
                  </a:cubicBezTo>
                  <a:cubicBezTo>
                    <a:pt x="836922" y="307205"/>
                    <a:pt x="850892" y="301490"/>
                    <a:pt x="857242" y="288155"/>
                  </a:cubicBezTo>
                  <a:cubicBezTo>
                    <a:pt x="881372" y="103370"/>
                    <a:pt x="656582" y="314825"/>
                    <a:pt x="588002" y="328160"/>
                  </a:cubicBezTo>
                  <a:close/>
                  <a:moveTo>
                    <a:pt x="367022" y="24630"/>
                  </a:moveTo>
                  <a:cubicBezTo>
                    <a:pt x="374007" y="56380"/>
                    <a:pt x="374007" y="56380"/>
                    <a:pt x="363847" y="76065"/>
                  </a:cubicBezTo>
                  <a:cubicBezTo>
                    <a:pt x="287647" y="35425"/>
                    <a:pt x="214622" y="112260"/>
                    <a:pt x="141597" y="130040"/>
                  </a:cubicBezTo>
                  <a:cubicBezTo>
                    <a:pt x="214622" y="91305"/>
                    <a:pt x="285742" y="15740"/>
                    <a:pt x="367022" y="24630"/>
                  </a:cubicBezTo>
                  <a:close/>
                  <a:moveTo>
                    <a:pt x="114927" y="142740"/>
                  </a:moveTo>
                  <a:cubicBezTo>
                    <a:pt x="123182" y="139565"/>
                    <a:pt x="130802" y="135755"/>
                    <a:pt x="139057" y="131945"/>
                  </a:cubicBezTo>
                  <a:cubicBezTo>
                    <a:pt x="133977" y="141470"/>
                    <a:pt x="125087" y="142740"/>
                    <a:pt x="114927" y="142740"/>
                  </a:cubicBezTo>
                  <a:cubicBezTo>
                    <a:pt x="111117" y="162425"/>
                    <a:pt x="99687" y="173220"/>
                    <a:pt x="76192" y="178300"/>
                  </a:cubicBezTo>
                  <a:cubicBezTo>
                    <a:pt x="84447" y="156710"/>
                    <a:pt x="105402" y="156075"/>
                    <a:pt x="114927" y="142740"/>
                  </a:cubicBezTo>
                  <a:close/>
                  <a:moveTo>
                    <a:pt x="506087" y="512310"/>
                  </a:moveTo>
                  <a:cubicBezTo>
                    <a:pt x="448937" y="504690"/>
                    <a:pt x="340352" y="490720"/>
                    <a:pt x="348607" y="414520"/>
                  </a:cubicBezTo>
                  <a:cubicBezTo>
                    <a:pt x="352417" y="388485"/>
                    <a:pt x="363212" y="354195"/>
                    <a:pt x="344797" y="331970"/>
                  </a:cubicBezTo>
                  <a:cubicBezTo>
                    <a:pt x="315587" y="307840"/>
                    <a:pt x="266057" y="301490"/>
                    <a:pt x="245102" y="338955"/>
                  </a:cubicBezTo>
                  <a:cubicBezTo>
                    <a:pt x="208272" y="420235"/>
                    <a:pt x="116832" y="403090"/>
                    <a:pt x="50792" y="366895"/>
                  </a:cubicBezTo>
                  <a:cubicBezTo>
                    <a:pt x="5072" y="335145"/>
                    <a:pt x="26662" y="269105"/>
                    <a:pt x="39362" y="224655"/>
                  </a:cubicBezTo>
                  <a:cubicBezTo>
                    <a:pt x="88892" y="175125"/>
                    <a:pt x="194302" y="201795"/>
                    <a:pt x="245102" y="244975"/>
                  </a:cubicBezTo>
                  <a:cubicBezTo>
                    <a:pt x="356227" y="360545"/>
                    <a:pt x="455922" y="237355"/>
                    <a:pt x="593717" y="359275"/>
                  </a:cubicBezTo>
                  <a:cubicBezTo>
                    <a:pt x="570857" y="410710"/>
                    <a:pt x="568317" y="499610"/>
                    <a:pt x="506087" y="512310"/>
                  </a:cubicBezTo>
                  <a:close/>
                  <a:moveTo>
                    <a:pt x="680077" y="302760"/>
                  </a:moveTo>
                  <a:cubicBezTo>
                    <a:pt x="680077" y="302125"/>
                    <a:pt x="680077" y="302125"/>
                    <a:pt x="679442" y="301490"/>
                  </a:cubicBezTo>
                  <a:cubicBezTo>
                    <a:pt x="679442" y="301490"/>
                    <a:pt x="680077" y="301490"/>
                    <a:pt x="680077" y="300855"/>
                  </a:cubicBezTo>
                  <a:cubicBezTo>
                    <a:pt x="680077" y="302125"/>
                    <a:pt x="680077" y="302760"/>
                    <a:pt x="680077" y="302760"/>
                  </a:cubicBezTo>
                  <a:close/>
                  <a:moveTo>
                    <a:pt x="680712" y="300855"/>
                  </a:moveTo>
                  <a:cubicBezTo>
                    <a:pt x="687697" y="296410"/>
                    <a:pt x="694682" y="291965"/>
                    <a:pt x="702302" y="289425"/>
                  </a:cubicBezTo>
                  <a:cubicBezTo>
                    <a:pt x="697857" y="303395"/>
                    <a:pt x="695952" y="304665"/>
                    <a:pt x="680712" y="300855"/>
                  </a:cubicBezTo>
                  <a:close/>
                  <a:moveTo>
                    <a:pt x="704842" y="288155"/>
                  </a:moveTo>
                  <a:cubicBezTo>
                    <a:pt x="709922" y="286885"/>
                    <a:pt x="715002" y="285615"/>
                    <a:pt x="720082" y="285615"/>
                  </a:cubicBezTo>
                  <a:cubicBezTo>
                    <a:pt x="715637" y="291965"/>
                    <a:pt x="709922" y="289425"/>
                    <a:pt x="704842" y="288155"/>
                  </a:cubicBezTo>
                  <a:close/>
                  <a:moveTo>
                    <a:pt x="836922" y="272280"/>
                  </a:moveTo>
                  <a:cubicBezTo>
                    <a:pt x="797552" y="259580"/>
                    <a:pt x="761357" y="271645"/>
                    <a:pt x="722622" y="284980"/>
                  </a:cubicBezTo>
                  <a:cubicBezTo>
                    <a:pt x="744847" y="262755"/>
                    <a:pt x="803902" y="229735"/>
                    <a:pt x="835017" y="242435"/>
                  </a:cubicBezTo>
                  <a:cubicBezTo>
                    <a:pt x="842002" y="251960"/>
                    <a:pt x="836287" y="262120"/>
                    <a:pt x="836922" y="272280"/>
                  </a:cubicBezTo>
                  <a:close/>
                  <a:moveTo>
                    <a:pt x="412107" y="311015"/>
                  </a:moveTo>
                  <a:cubicBezTo>
                    <a:pt x="310507" y="396105"/>
                    <a:pt x="406392" y="528185"/>
                    <a:pt x="519422" y="475480"/>
                  </a:cubicBezTo>
                  <a:cubicBezTo>
                    <a:pt x="629277" y="409440"/>
                    <a:pt x="504817" y="293235"/>
                    <a:pt x="412107" y="311015"/>
                  </a:cubicBezTo>
                  <a:close/>
                  <a:moveTo>
                    <a:pt x="479417" y="346575"/>
                  </a:moveTo>
                  <a:cubicBezTo>
                    <a:pt x="475607" y="357370"/>
                    <a:pt x="476877" y="367530"/>
                    <a:pt x="487672" y="376420"/>
                  </a:cubicBezTo>
                  <a:cubicBezTo>
                    <a:pt x="499737" y="386580"/>
                    <a:pt x="502912" y="401185"/>
                    <a:pt x="503547" y="416425"/>
                  </a:cubicBezTo>
                  <a:cubicBezTo>
                    <a:pt x="528312" y="451985"/>
                    <a:pt x="511802" y="373245"/>
                    <a:pt x="508627" y="362450"/>
                  </a:cubicBezTo>
                  <a:cubicBezTo>
                    <a:pt x="570857" y="377055"/>
                    <a:pt x="538472" y="462780"/>
                    <a:pt x="480687" y="465320"/>
                  </a:cubicBezTo>
                  <a:cubicBezTo>
                    <a:pt x="398772" y="478020"/>
                    <a:pt x="358767" y="380865"/>
                    <a:pt x="427347" y="333875"/>
                  </a:cubicBezTo>
                  <a:cubicBezTo>
                    <a:pt x="443857" y="336415"/>
                    <a:pt x="462907" y="330065"/>
                    <a:pt x="479417" y="346575"/>
                  </a:cubicBezTo>
                  <a:close/>
                  <a:moveTo>
                    <a:pt x="45712" y="274820"/>
                  </a:moveTo>
                  <a:cubicBezTo>
                    <a:pt x="15232" y="385945"/>
                    <a:pt x="243197" y="432935"/>
                    <a:pt x="235577" y="303395"/>
                  </a:cubicBezTo>
                  <a:cubicBezTo>
                    <a:pt x="240657" y="208780"/>
                    <a:pt x="60317" y="177665"/>
                    <a:pt x="45712" y="274820"/>
                  </a:cubicBezTo>
                  <a:close/>
                  <a:moveTo>
                    <a:pt x="97147" y="342130"/>
                  </a:moveTo>
                  <a:cubicBezTo>
                    <a:pt x="50157" y="326255"/>
                    <a:pt x="55872" y="255135"/>
                    <a:pt x="99687" y="242435"/>
                  </a:cubicBezTo>
                  <a:cubicBezTo>
                    <a:pt x="121277" y="242435"/>
                    <a:pt x="143502" y="232910"/>
                    <a:pt x="166362" y="242435"/>
                  </a:cubicBezTo>
                  <a:cubicBezTo>
                    <a:pt x="167632" y="272915"/>
                    <a:pt x="187317" y="281805"/>
                    <a:pt x="186682" y="314190"/>
                  </a:cubicBezTo>
                  <a:cubicBezTo>
                    <a:pt x="215892" y="327525"/>
                    <a:pt x="198112" y="269740"/>
                    <a:pt x="187317" y="258310"/>
                  </a:cubicBezTo>
                  <a:cubicBezTo>
                    <a:pt x="256532" y="269105"/>
                    <a:pt x="208907" y="416425"/>
                    <a:pt x="97147" y="342130"/>
                  </a:cubicBezTo>
                  <a:close/>
                  <a:moveTo>
                    <a:pt x="476242" y="414520"/>
                  </a:moveTo>
                  <a:cubicBezTo>
                    <a:pt x="494657" y="408170"/>
                    <a:pt x="478782" y="377690"/>
                    <a:pt x="459732" y="378325"/>
                  </a:cubicBezTo>
                  <a:cubicBezTo>
                    <a:pt x="465447" y="395470"/>
                    <a:pt x="461637" y="409440"/>
                    <a:pt x="476242" y="414520"/>
                  </a:cubicBezTo>
                  <a:close/>
                  <a:moveTo>
                    <a:pt x="145407" y="286250"/>
                  </a:moveTo>
                  <a:cubicBezTo>
                    <a:pt x="154297" y="305300"/>
                    <a:pt x="148582" y="333240"/>
                    <a:pt x="172077" y="340860"/>
                  </a:cubicBezTo>
                  <a:cubicBezTo>
                    <a:pt x="175887" y="321810"/>
                    <a:pt x="168267" y="265930"/>
                    <a:pt x="145407" y="28625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46" name="Google Shape;71;p2">
              <a:extLst>
                <a:ext uri="{FF2B5EF4-FFF2-40B4-BE49-F238E27FC236}">
                  <a16:creationId xmlns:a16="http://schemas.microsoft.com/office/drawing/2014/main" id="{EF0497D5-034D-4BED-B2FD-96D861FDF618}"/>
                </a:ext>
              </a:extLst>
            </p:cNvPr>
            <p:cNvGrpSpPr/>
            <p:nvPr/>
          </p:nvGrpSpPr>
          <p:grpSpPr>
            <a:xfrm>
              <a:off x="7801268" y="2011644"/>
              <a:ext cx="583849" cy="670195"/>
              <a:chOff x="7801268" y="2011644"/>
              <a:chExt cx="583849" cy="670195"/>
            </a:xfrm>
          </p:grpSpPr>
          <p:sp>
            <p:nvSpPr>
              <p:cNvPr id="82" name="Google Shape;72;p2">
                <a:extLst>
                  <a:ext uri="{FF2B5EF4-FFF2-40B4-BE49-F238E27FC236}">
                    <a16:creationId xmlns:a16="http://schemas.microsoft.com/office/drawing/2014/main" id="{17A26FFC-8348-4ABC-A812-F6E26FDB1B85}"/>
                  </a:ext>
                </a:extLst>
              </p:cNvPr>
              <p:cNvSpPr/>
              <p:nvPr/>
            </p:nvSpPr>
            <p:spPr>
              <a:xfrm rot="6678441">
                <a:off x="7840657" y="2123048"/>
                <a:ext cx="518922" cy="409425"/>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3" name="Google Shape;73;p2">
                <a:extLst>
                  <a:ext uri="{FF2B5EF4-FFF2-40B4-BE49-F238E27FC236}">
                    <a16:creationId xmlns:a16="http://schemas.microsoft.com/office/drawing/2014/main" id="{5BD01DDA-6970-4AD9-88E1-5EC430ADC778}"/>
                  </a:ext>
                </a:extLst>
              </p:cNvPr>
              <p:cNvSpPr/>
              <p:nvPr/>
            </p:nvSpPr>
            <p:spPr>
              <a:xfrm rot="-1245048">
                <a:off x="7884626" y="2097617"/>
                <a:ext cx="363919" cy="537176"/>
              </a:xfrm>
              <a:custGeom>
                <a:avLst/>
                <a:gdLst/>
                <a:ahLst/>
                <a:cxnLst/>
                <a:rect l="l" t="t" r="r" b="b"/>
                <a:pathLst>
                  <a:path w="422747" h="624012" extrusionOk="0">
                    <a:moveTo>
                      <a:pt x="410845" y="259621"/>
                    </a:moveTo>
                    <a:cubicBezTo>
                      <a:pt x="398145" y="183421"/>
                      <a:pt x="422275" y="81821"/>
                      <a:pt x="377825" y="18321"/>
                    </a:cubicBezTo>
                    <a:cubicBezTo>
                      <a:pt x="294640" y="-22319"/>
                      <a:pt x="191770" y="15781"/>
                      <a:pt x="103505" y="26576"/>
                    </a:cubicBezTo>
                    <a:cubicBezTo>
                      <a:pt x="76836" y="36101"/>
                      <a:pt x="38100" y="32291"/>
                      <a:pt x="17780" y="51976"/>
                    </a:cubicBezTo>
                    <a:cubicBezTo>
                      <a:pt x="17145" y="62771"/>
                      <a:pt x="5715" y="62771"/>
                      <a:pt x="0" y="72931"/>
                    </a:cubicBezTo>
                    <a:cubicBezTo>
                      <a:pt x="19686" y="229776"/>
                      <a:pt x="7620" y="389161"/>
                      <a:pt x="13970" y="547276"/>
                    </a:cubicBezTo>
                    <a:cubicBezTo>
                      <a:pt x="-6350" y="657766"/>
                      <a:pt x="162561" y="615856"/>
                      <a:pt x="227330" y="617761"/>
                    </a:cubicBezTo>
                    <a:cubicBezTo>
                      <a:pt x="270511" y="592361"/>
                      <a:pt x="426086" y="628556"/>
                      <a:pt x="422275" y="570771"/>
                    </a:cubicBezTo>
                    <a:cubicBezTo>
                      <a:pt x="424815" y="467266"/>
                      <a:pt x="416561" y="363126"/>
                      <a:pt x="410845" y="259621"/>
                    </a:cubicBezTo>
                    <a:close/>
                    <a:moveTo>
                      <a:pt x="353061" y="579026"/>
                    </a:moveTo>
                    <a:cubicBezTo>
                      <a:pt x="288925" y="577121"/>
                      <a:pt x="60961" y="637446"/>
                      <a:pt x="38736" y="575851"/>
                    </a:cubicBezTo>
                    <a:cubicBezTo>
                      <a:pt x="143511" y="579026"/>
                      <a:pt x="248286" y="572676"/>
                      <a:pt x="353061" y="574581"/>
                    </a:cubicBezTo>
                    <a:cubicBezTo>
                      <a:pt x="353061" y="575851"/>
                      <a:pt x="353061" y="577121"/>
                      <a:pt x="353061" y="579026"/>
                    </a:cubicBezTo>
                    <a:close/>
                    <a:moveTo>
                      <a:pt x="361315" y="547911"/>
                    </a:moveTo>
                    <a:cubicBezTo>
                      <a:pt x="252095" y="555531"/>
                      <a:pt x="144145" y="561881"/>
                      <a:pt x="35561" y="551086"/>
                    </a:cubicBezTo>
                    <a:cubicBezTo>
                      <a:pt x="39370" y="392971"/>
                      <a:pt x="33020" y="236761"/>
                      <a:pt x="27305" y="79281"/>
                    </a:cubicBezTo>
                    <a:cubicBezTo>
                      <a:pt x="112395" y="27846"/>
                      <a:pt x="231775" y="25941"/>
                      <a:pt x="329565" y="25941"/>
                    </a:cubicBezTo>
                    <a:cubicBezTo>
                      <a:pt x="369570" y="197391"/>
                      <a:pt x="365761" y="373286"/>
                      <a:pt x="361315" y="547911"/>
                    </a:cubicBezTo>
                    <a:close/>
                    <a:moveTo>
                      <a:pt x="377190" y="141511"/>
                    </a:moveTo>
                    <a:cubicBezTo>
                      <a:pt x="360045" y="110396"/>
                      <a:pt x="364490" y="76106"/>
                      <a:pt x="356870" y="41816"/>
                    </a:cubicBezTo>
                    <a:cubicBezTo>
                      <a:pt x="381000" y="13241"/>
                      <a:pt x="381000" y="121826"/>
                      <a:pt x="377190" y="141511"/>
                    </a:cubicBezTo>
                    <a:close/>
                    <a:moveTo>
                      <a:pt x="397511" y="544736"/>
                    </a:moveTo>
                    <a:cubicBezTo>
                      <a:pt x="372745" y="497746"/>
                      <a:pt x="394336" y="431071"/>
                      <a:pt x="387350" y="376461"/>
                    </a:cubicBezTo>
                    <a:cubicBezTo>
                      <a:pt x="401955" y="370746"/>
                      <a:pt x="402590" y="530766"/>
                      <a:pt x="397511" y="544736"/>
                    </a:cubicBezTo>
                    <a:close/>
                    <a:moveTo>
                      <a:pt x="302895" y="182786"/>
                    </a:moveTo>
                    <a:cubicBezTo>
                      <a:pt x="313690" y="183421"/>
                      <a:pt x="331470" y="173896"/>
                      <a:pt x="320675" y="162466"/>
                    </a:cubicBezTo>
                    <a:cubicBezTo>
                      <a:pt x="297180" y="138336"/>
                      <a:pt x="309880" y="104046"/>
                      <a:pt x="300355" y="74836"/>
                    </a:cubicBezTo>
                    <a:cubicBezTo>
                      <a:pt x="307340" y="35466"/>
                      <a:pt x="90170" y="76741"/>
                      <a:pt x="59690" y="81821"/>
                    </a:cubicBezTo>
                    <a:cubicBezTo>
                      <a:pt x="48261" y="119921"/>
                      <a:pt x="77470" y="152941"/>
                      <a:pt x="62865" y="194851"/>
                    </a:cubicBezTo>
                    <a:cubicBezTo>
                      <a:pt x="148590" y="206916"/>
                      <a:pt x="211455" y="177071"/>
                      <a:pt x="302895" y="182786"/>
                    </a:cubicBezTo>
                    <a:close/>
                    <a:moveTo>
                      <a:pt x="282575" y="83091"/>
                    </a:moveTo>
                    <a:cubicBezTo>
                      <a:pt x="292100" y="105316"/>
                      <a:pt x="287655" y="127541"/>
                      <a:pt x="290830" y="149131"/>
                    </a:cubicBezTo>
                    <a:cubicBezTo>
                      <a:pt x="227965" y="172626"/>
                      <a:pt x="154940" y="172626"/>
                      <a:pt x="87630" y="174531"/>
                    </a:cubicBezTo>
                    <a:cubicBezTo>
                      <a:pt x="75565" y="151671"/>
                      <a:pt x="83820" y="128176"/>
                      <a:pt x="72390" y="104046"/>
                    </a:cubicBezTo>
                    <a:cubicBezTo>
                      <a:pt x="140970" y="86266"/>
                      <a:pt x="212725" y="81821"/>
                      <a:pt x="282575" y="83091"/>
                    </a:cubicBezTo>
                    <a:close/>
                    <a:moveTo>
                      <a:pt x="274955" y="383446"/>
                    </a:moveTo>
                    <a:cubicBezTo>
                      <a:pt x="257811" y="411386"/>
                      <a:pt x="281305" y="441866"/>
                      <a:pt x="268605" y="477426"/>
                    </a:cubicBezTo>
                    <a:cubicBezTo>
                      <a:pt x="244475" y="452026"/>
                      <a:pt x="215900" y="479331"/>
                      <a:pt x="189865" y="461551"/>
                    </a:cubicBezTo>
                    <a:cubicBezTo>
                      <a:pt x="175261" y="454566"/>
                      <a:pt x="163195" y="458376"/>
                      <a:pt x="153036" y="471076"/>
                    </a:cubicBezTo>
                    <a:cubicBezTo>
                      <a:pt x="159386" y="509176"/>
                      <a:pt x="156845" y="525686"/>
                      <a:pt x="204470" y="518066"/>
                    </a:cubicBezTo>
                    <a:cubicBezTo>
                      <a:pt x="208280" y="509811"/>
                      <a:pt x="212725" y="500921"/>
                      <a:pt x="218440" y="490761"/>
                    </a:cubicBezTo>
                    <a:cubicBezTo>
                      <a:pt x="223520" y="501556"/>
                      <a:pt x="227330" y="510446"/>
                      <a:pt x="232411" y="521241"/>
                    </a:cubicBezTo>
                    <a:cubicBezTo>
                      <a:pt x="243840" y="517431"/>
                      <a:pt x="253365" y="513621"/>
                      <a:pt x="263525" y="510446"/>
                    </a:cubicBezTo>
                    <a:cubicBezTo>
                      <a:pt x="290195" y="526321"/>
                      <a:pt x="290195" y="526321"/>
                      <a:pt x="328295" y="509811"/>
                    </a:cubicBezTo>
                    <a:cubicBezTo>
                      <a:pt x="327661" y="468536"/>
                      <a:pt x="347345" y="349791"/>
                      <a:pt x="274955" y="383446"/>
                    </a:cubicBezTo>
                    <a:close/>
                    <a:moveTo>
                      <a:pt x="193040" y="500921"/>
                    </a:moveTo>
                    <a:cubicBezTo>
                      <a:pt x="177800" y="500921"/>
                      <a:pt x="173990" y="498381"/>
                      <a:pt x="173355" y="489491"/>
                    </a:cubicBezTo>
                    <a:cubicBezTo>
                      <a:pt x="176530" y="469806"/>
                      <a:pt x="203836" y="475521"/>
                      <a:pt x="193040" y="500921"/>
                    </a:cubicBezTo>
                    <a:close/>
                    <a:moveTo>
                      <a:pt x="309245" y="497111"/>
                    </a:moveTo>
                    <a:cubicBezTo>
                      <a:pt x="302261" y="498381"/>
                      <a:pt x="296545" y="499016"/>
                      <a:pt x="290830" y="499651"/>
                    </a:cubicBezTo>
                    <a:cubicBezTo>
                      <a:pt x="267970" y="379636"/>
                      <a:pt x="323215" y="357411"/>
                      <a:pt x="309245" y="497111"/>
                    </a:cubicBezTo>
                    <a:close/>
                    <a:moveTo>
                      <a:pt x="296545" y="210091"/>
                    </a:moveTo>
                    <a:cubicBezTo>
                      <a:pt x="233680" y="208186"/>
                      <a:pt x="267970" y="301531"/>
                      <a:pt x="319405" y="275496"/>
                    </a:cubicBezTo>
                    <a:cubicBezTo>
                      <a:pt x="336550" y="264066"/>
                      <a:pt x="332740" y="203741"/>
                      <a:pt x="296545" y="210091"/>
                    </a:cubicBezTo>
                    <a:close/>
                    <a:moveTo>
                      <a:pt x="297815" y="259621"/>
                    </a:moveTo>
                    <a:cubicBezTo>
                      <a:pt x="281940" y="260891"/>
                      <a:pt x="273050" y="230411"/>
                      <a:pt x="294640" y="229141"/>
                    </a:cubicBezTo>
                    <a:cubicBezTo>
                      <a:pt x="314961" y="225331"/>
                      <a:pt x="313690" y="259621"/>
                      <a:pt x="297815" y="259621"/>
                    </a:cubicBezTo>
                    <a:close/>
                    <a:moveTo>
                      <a:pt x="244475" y="359316"/>
                    </a:moveTo>
                    <a:cubicBezTo>
                      <a:pt x="244475" y="342171"/>
                      <a:pt x="245111" y="327566"/>
                      <a:pt x="244475" y="312961"/>
                    </a:cubicBezTo>
                    <a:cubicBezTo>
                      <a:pt x="243205" y="288196"/>
                      <a:pt x="198120" y="286926"/>
                      <a:pt x="201930" y="315501"/>
                    </a:cubicBezTo>
                    <a:cubicBezTo>
                      <a:pt x="203836" y="344076"/>
                      <a:pt x="207645" y="372651"/>
                      <a:pt x="244475" y="359316"/>
                    </a:cubicBezTo>
                    <a:close/>
                    <a:moveTo>
                      <a:pt x="89536" y="305976"/>
                    </a:moveTo>
                    <a:cubicBezTo>
                      <a:pt x="83186" y="326296"/>
                      <a:pt x="95886" y="344711"/>
                      <a:pt x="95250" y="365666"/>
                    </a:cubicBezTo>
                    <a:cubicBezTo>
                      <a:pt x="164465" y="385986"/>
                      <a:pt x="142240" y="276131"/>
                      <a:pt x="89536" y="305976"/>
                    </a:cubicBezTo>
                    <a:close/>
                    <a:moveTo>
                      <a:pt x="111125" y="321851"/>
                    </a:moveTo>
                    <a:cubicBezTo>
                      <a:pt x="123190" y="324391"/>
                      <a:pt x="117475" y="335186"/>
                      <a:pt x="118745" y="345346"/>
                    </a:cubicBezTo>
                    <a:cubicBezTo>
                      <a:pt x="105411" y="341536"/>
                      <a:pt x="100965" y="326931"/>
                      <a:pt x="111125" y="321851"/>
                    </a:cubicBezTo>
                    <a:close/>
                    <a:moveTo>
                      <a:pt x="136525" y="446946"/>
                    </a:moveTo>
                    <a:cubicBezTo>
                      <a:pt x="143511" y="375191"/>
                      <a:pt x="60961" y="365031"/>
                      <a:pt x="86995" y="447581"/>
                    </a:cubicBezTo>
                    <a:cubicBezTo>
                      <a:pt x="114300" y="460916"/>
                      <a:pt x="114300" y="460916"/>
                      <a:pt x="136525" y="446946"/>
                    </a:cubicBezTo>
                    <a:close/>
                    <a:moveTo>
                      <a:pt x="100330" y="420911"/>
                    </a:moveTo>
                    <a:cubicBezTo>
                      <a:pt x="104775" y="394876"/>
                      <a:pt x="135255" y="420276"/>
                      <a:pt x="120650" y="436151"/>
                    </a:cubicBezTo>
                    <a:cubicBezTo>
                      <a:pt x="109220" y="446946"/>
                      <a:pt x="99061" y="432976"/>
                      <a:pt x="100330" y="420911"/>
                    </a:cubicBezTo>
                    <a:close/>
                    <a:moveTo>
                      <a:pt x="195580" y="443136"/>
                    </a:moveTo>
                    <a:cubicBezTo>
                      <a:pt x="203200" y="439961"/>
                      <a:pt x="205105" y="432341"/>
                      <a:pt x="201295" y="418371"/>
                    </a:cubicBezTo>
                    <a:cubicBezTo>
                      <a:pt x="196850" y="387891"/>
                      <a:pt x="176530" y="387891"/>
                      <a:pt x="149861" y="392336"/>
                    </a:cubicBezTo>
                    <a:cubicBezTo>
                      <a:pt x="140336" y="422181"/>
                      <a:pt x="160655" y="461551"/>
                      <a:pt x="195580" y="443136"/>
                    </a:cubicBezTo>
                    <a:close/>
                    <a:moveTo>
                      <a:pt x="167640" y="418371"/>
                    </a:moveTo>
                    <a:cubicBezTo>
                      <a:pt x="172086" y="406306"/>
                      <a:pt x="187961" y="408846"/>
                      <a:pt x="187961" y="424086"/>
                    </a:cubicBezTo>
                    <a:cubicBezTo>
                      <a:pt x="182245" y="432341"/>
                      <a:pt x="165736" y="429801"/>
                      <a:pt x="167640" y="418371"/>
                    </a:cubicBezTo>
                    <a:close/>
                    <a:moveTo>
                      <a:pt x="153670" y="298356"/>
                    </a:moveTo>
                    <a:cubicBezTo>
                      <a:pt x="156211" y="323756"/>
                      <a:pt x="149861" y="351696"/>
                      <a:pt x="179705" y="368206"/>
                    </a:cubicBezTo>
                    <a:cubicBezTo>
                      <a:pt x="205105" y="341536"/>
                      <a:pt x="201930" y="284386"/>
                      <a:pt x="153670" y="298356"/>
                    </a:cubicBezTo>
                    <a:close/>
                    <a:moveTo>
                      <a:pt x="281940" y="293276"/>
                    </a:moveTo>
                    <a:cubicBezTo>
                      <a:pt x="253365" y="305341"/>
                      <a:pt x="274955" y="359951"/>
                      <a:pt x="304165" y="356141"/>
                    </a:cubicBezTo>
                    <a:cubicBezTo>
                      <a:pt x="340995" y="335186"/>
                      <a:pt x="321311" y="295181"/>
                      <a:pt x="281940" y="293276"/>
                    </a:cubicBezTo>
                    <a:close/>
                    <a:moveTo>
                      <a:pt x="295911" y="331376"/>
                    </a:moveTo>
                    <a:cubicBezTo>
                      <a:pt x="282575" y="330741"/>
                      <a:pt x="287020" y="317406"/>
                      <a:pt x="297180" y="311691"/>
                    </a:cubicBezTo>
                    <a:cubicBezTo>
                      <a:pt x="304800" y="321216"/>
                      <a:pt x="306070" y="326931"/>
                      <a:pt x="295911" y="331376"/>
                    </a:cubicBezTo>
                    <a:close/>
                    <a:moveTo>
                      <a:pt x="123825" y="282481"/>
                    </a:moveTo>
                    <a:cubicBezTo>
                      <a:pt x="137795" y="226601"/>
                      <a:pt x="78740" y="200566"/>
                      <a:pt x="79375" y="252001"/>
                    </a:cubicBezTo>
                    <a:cubicBezTo>
                      <a:pt x="79375" y="279306"/>
                      <a:pt x="96520" y="290101"/>
                      <a:pt x="123825" y="282481"/>
                    </a:cubicBezTo>
                    <a:close/>
                    <a:moveTo>
                      <a:pt x="98425" y="248826"/>
                    </a:moveTo>
                    <a:cubicBezTo>
                      <a:pt x="99695" y="250096"/>
                      <a:pt x="100330" y="251366"/>
                      <a:pt x="101600" y="252636"/>
                    </a:cubicBezTo>
                    <a:cubicBezTo>
                      <a:pt x="100330" y="253906"/>
                      <a:pt x="99061" y="254541"/>
                      <a:pt x="97155" y="255811"/>
                    </a:cubicBezTo>
                    <a:cubicBezTo>
                      <a:pt x="94615" y="252636"/>
                      <a:pt x="97155" y="250731"/>
                      <a:pt x="98425" y="248826"/>
                    </a:cubicBezTo>
                    <a:close/>
                    <a:moveTo>
                      <a:pt x="92075" y="494571"/>
                    </a:moveTo>
                    <a:cubicBezTo>
                      <a:pt x="85090" y="528861"/>
                      <a:pt x="130811" y="542831"/>
                      <a:pt x="140336" y="509176"/>
                    </a:cubicBezTo>
                    <a:cubicBezTo>
                      <a:pt x="157480" y="470441"/>
                      <a:pt x="92075" y="442501"/>
                      <a:pt x="92075" y="494571"/>
                    </a:cubicBezTo>
                    <a:close/>
                    <a:moveTo>
                      <a:pt x="120650" y="509176"/>
                    </a:moveTo>
                    <a:cubicBezTo>
                      <a:pt x="103505" y="511081"/>
                      <a:pt x="111125" y="487586"/>
                      <a:pt x="123190" y="483141"/>
                    </a:cubicBezTo>
                    <a:cubicBezTo>
                      <a:pt x="133986" y="490126"/>
                      <a:pt x="130811" y="503461"/>
                      <a:pt x="120650" y="509176"/>
                    </a:cubicBezTo>
                    <a:close/>
                    <a:moveTo>
                      <a:pt x="202565" y="236126"/>
                    </a:moveTo>
                    <a:cubicBezTo>
                      <a:pt x="179070" y="285656"/>
                      <a:pt x="231140" y="297721"/>
                      <a:pt x="239395" y="257716"/>
                    </a:cubicBezTo>
                    <a:cubicBezTo>
                      <a:pt x="245111" y="238666"/>
                      <a:pt x="234315" y="207551"/>
                      <a:pt x="211455" y="216441"/>
                    </a:cubicBezTo>
                    <a:cubicBezTo>
                      <a:pt x="207011" y="231046"/>
                      <a:pt x="232411" y="231046"/>
                      <a:pt x="218440" y="250731"/>
                    </a:cubicBezTo>
                    <a:cubicBezTo>
                      <a:pt x="213995" y="245651"/>
                      <a:pt x="210186" y="242476"/>
                      <a:pt x="202565" y="236126"/>
                    </a:cubicBezTo>
                    <a:close/>
                    <a:moveTo>
                      <a:pt x="168911" y="271686"/>
                    </a:moveTo>
                    <a:cubicBezTo>
                      <a:pt x="217805" y="236126"/>
                      <a:pt x="125730" y="175801"/>
                      <a:pt x="143511" y="248826"/>
                    </a:cubicBezTo>
                    <a:cubicBezTo>
                      <a:pt x="134620" y="267241"/>
                      <a:pt x="151765" y="288831"/>
                      <a:pt x="168911" y="271686"/>
                    </a:cubicBezTo>
                    <a:close/>
                    <a:moveTo>
                      <a:pt x="161925" y="243111"/>
                    </a:moveTo>
                    <a:cubicBezTo>
                      <a:pt x="161290" y="244381"/>
                      <a:pt x="161290" y="245016"/>
                      <a:pt x="160655" y="246921"/>
                    </a:cubicBezTo>
                    <a:cubicBezTo>
                      <a:pt x="159386" y="243746"/>
                      <a:pt x="158750" y="243111"/>
                      <a:pt x="161925" y="243111"/>
                    </a:cubicBezTo>
                    <a:close/>
                    <a:moveTo>
                      <a:pt x="238125" y="450121"/>
                    </a:moveTo>
                    <a:cubicBezTo>
                      <a:pt x="280036" y="441866"/>
                      <a:pt x="257811" y="388526"/>
                      <a:pt x="221615" y="387256"/>
                    </a:cubicBezTo>
                    <a:cubicBezTo>
                      <a:pt x="212725" y="409481"/>
                      <a:pt x="210820" y="448216"/>
                      <a:pt x="238125" y="450121"/>
                    </a:cubicBezTo>
                    <a:close/>
                    <a:moveTo>
                      <a:pt x="241936" y="415831"/>
                    </a:moveTo>
                    <a:cubicBezTo>
                      <a:pt x="243840" y="417736"/>
                      <a:pt x="245745" y="419641"/>
                      <a:pt x="248920" y="422816"/>
                    </a:cubicBezTo>
                    <a:cubicBezTo>
                      <a:pt x="245111" y="425991"/>
                      <a:pt x="241936" y="427896"/>
                      <a:pt x="239395" y="429801"/>
                    </a:cubicBezTo>
                    <a:cubicBezTo>
                      <a:pt x="235586" y="424086"/>
                      <a:pt x="235586" y="420276"/>
                      <a:pt x="241936" y="415831"/>
                    </a:cubicBezTo>
                    <a:close/>
                    <a:moveTo>
                      <a:pt x="272415" y="107856"/>
                    </a:moveTo>
                    <a:cubicBezTo>
                      <a:pt x="263525" y="83091"/>
                      <a:pt x="234315" y="98966"/>
                      <a:pt x="234950" y="120556"/>
                    </a:cubicBezTo>
                    <a:cubicBezTo>
                      <a:pt x="233045" y="161196"/>
                      <a:pt x="292736" y="142781"/>
                      <a:pt x="272415" y="10785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47" name="Google Shape;74;p2">
              <a:extLst>
                <a:ext uri="{FF2B5EF4-FFF2-40B4-BE49-F238E27FC236}">
                  <a16:creationId xmlns:a16="http://schemas.microsoft.com/office/drawing/2014/main" id="{659C0682-6BC4-4294-943E-0123E3492480}"/>
                </a:ext>
              </a:extLst>
            </p:cNvPr>
            <p:cNvGrpSpPr/>
            <p:nvPr/>
          </p:nvGrpSpPr>
          <p:grpSpPr>
            <a:xfrm>
              <a:off x="286734" y="1360788"/>
              <a:ext cx="437027" cy="515682"/>
              <a:chOff x="286734" y="1360788"/>
              <a:chExt cx="437027" cy="515682"/>
            </a:xfrm>
          </p:grpSpPr>
          <p:sp>
            <p:nvSpPr>
              <p:cNvPr id="80" name="Google Shape;75;p2">
                <a:extLst>
                  <a:ext uri="{FF2B5EF4-FFF2-40B4-BE49-F238E27FC236}">
                    <a16:creationId xmlns:a16="http://schemas.microsoft.com/office/drawing/2014/main" id="{73DCC9B3-C9C8-4AA7-A179-BC5D1EFCFE34}"/>
                  </a:ext>
                </a:extLst>
              </p:cNvPr>
              <p:cNvSpPr/>
              <p:nvPr/>
            </p:nvSpPr>
            <p:spPr>
              <a:xfrm>
                <a:off x="286734" y="1396113"/>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81" name="Google Shape;76;p2">
                <a:extLst>
                  <a:ext uri="{FF2B5EF4-FFF2-40B4-BE49-F238E27FC236}">
                    <a16:creationId xmlns:a16="http://schemas.microsoft.com/office/drawing/2014/main" id="{126F0858-6408-4050-BBCE-F70FADA594F6}"/>
                  </a:ext>
                </a:extLst>
              </p:cNvPr>
              <p:cNvSpPr/>
              <p:nvPr/>
            </p:nvSpPr>
            <p:spPr>
              <a:xfrm>
                <a:off x="313599" y="1360788"/>
                <a:ext cx="410163" cy="515682"/>
              </a:xfrm>
              <a:custGeom>
                <a:avLst/>
                <a:gdLst/>
                <a:ahLst/>
                <a:cxnLst/>
                <a:rect l="l" t="t" r="r" b="b"/>
                <a:pathLst>
                  <a:path w="556153" h="699230" extrusionOk="0">
                    <a:moveTo>
                      <a:pt x="410424" y="391256"/>
                    </a:moveTo>
                    <a:cubicBezTo>
                      <a:pt x="574889" y="156941"/>
                      <a:pt x="291679" y="-137064"/>
                      <a:pt x="71334" y="70581"/>
                    </a:cubicBezTo>
                    <a:cubicBezTo>
                      <a:pt x="-104561" y="236316"/>
                      <a:pt x="73239" y="511271"/>
                      <a:pt x="296759" y="455391"/>
                    </a:cubicBezTo>
                    <a:cubicBezTo>
                      <a:pt x="352639" y="534131"/>
                      <a:pt x="400899" y="617316"/>
                      <a:pt x="452969" y="699231"/>
                    </a:cubicBezTo>
                    <a:cubicBezTo>
                      <a:pt x="687919" y="695421"/>
                      <a:pt x="454239" y="483331"/>
                      <a:pt x="410424" y="391256"/>
                    </a:cubicBezTo>
                    <a:close/>
                    <a:moveTo>
                      <a:pt x="33234" y="166466"/>
                    </a:moveTo>
                    <a:cubicBezTo>
                      <a:pt x="120864" y="-48164"/>
                      <a:pt x="449794" y="-11334"/>
                      <a:pt x="437094" y="238856"/>
                    </a:cubicBezTo>
                    <a:cubicBezTo>
                      <a:pt x="427569" y="553181"/>
                      <a:pt x="-57571" y="469996"/>
                      <a:pt x="33234" y="166466"/>
                    </a:cubicBezTo>
                    <a:close/>
                    <a:moveTo>
                      <a:pt x="440904" y="631286"/>
                    </a:moveTo>
                    <a:cubicBezTo>
                      <a:pt x="404074" y="569056"/>
                      <a:pt x="351369" y="511271"/>
                      <a:pt x="325969" y="443961"/>
                    </a:cubicBezTo>
                    <a:cubicBezTo>
                      <a:pt x="345654" y="433166"/>
                      <a:pt x="365974" y="422371"/>
                      <a:pt x="389469" y="410306"/>
                    </a:cubicBezTo>
                    <a:cubicBezTo>
                      <a:pt x="429474" y="468091"/>
                      <a:pt x="590129" y="620491"/>
                      <a:pt x="440904" y="631286"/>
                    </a:cubicBezTo>
                    <a:close/>
                    <a:moveTo>
                      <a:pt x="459954" y="661131"/>
                    </a:moveTo>
                    <a:cubicBezTo>
                      <a:pt x="480909" y="647796"/>
                      <a:pt x="502499" y="634461"/>
                      <a:pt x="523454" y="620491"/>
                    </a:cubicBezTo>
                    <a:cubicBezTo>
                      <a:pt x="559649" y="647161"/>
                      <a:pt x="464399" y="711931"/>
                      <a:pt x="459954" y="661131"/>
                    </a:cubicBezTo>
                    <a:close/>
                    <a:moveTo>
                      <a:pt x="233259" y="64231"/>
                    </a:moveTo>
                    <a:cubicBezTo>
                      <a:pt x="-27726" y="91536"/>
                      <a:pt x="43394" y="449676"/>
                      <a:pt x="284694" y="393161"/>
                    </a:cubicBezTo>
                    <a:cubicBezTo>
                      <a:pt x="475194" y="323311"/>
                      <a:pt x="433284" y="80106"/>
                      <a:pt x="233259" y="64231"/>
                    </a:cubicBezTo>
                    <a:close/>
                    <a:moveTo>
                      <a:pt x="242784" y="379826"/>
                    </a:moveTo>
                    <a:cubicBezTo>
                      <a:pt x="26249" y="375381"/>
                      <a:pt x="54824" y="54071"/>
                      <a:pt x="264374" y="97251"/>
                    </a:cubicBezTo>
                    <a:cubicBezTo>
                      <a:pt x="449159" y="111221"/>
                      <a:pt x="402804" y="363316"/>
                      <a:pt x="242784" y="379826"/>
                    </a:cubicBezTo>
                    <a:close/>
                    <a:moveTo>
                      <a:pt x="225639" y="156306"/>
                    </a:moveTo>
                    <a:cubicBezTo>
                      <a:pt x="252944" y="146146"/>
                      <a:pt x="271359" y="166466"/>
                      <a:pt x="297394" y="166466"/>
                    </a:cubicBezTo>
                    <a:cubicBezTo>
                      <a:pt x="308824" y="120111"/>
                      <a:pt x="169759" y="120111"/>
                      <a:pt x="225639" y="15630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48" name="Google Shape;77;p2">
              <a:extLst>
                <a:ext uri="{FF2B5EF4-FFF2-40B4-BE49-F238E27FC236}">
                  <a16:creationId xmlns:a16="http://schemas.microsoft.com/office/drawing/2014/main" id="{A3AA01DC-6A07-4C85-B5EF-4D5A93B2A10D}"/>
                </a:ext>
              </a:extLst>
            </p:cNvPr>
            <p:cNvSpPr/>
            <p:nvPr/>
          </p:nvSpPr>
          <p:spPr>
            <a:xfrm>
              <a:off x="2688787" y="4098763"/>
              <a:ext cx="455682" cy="432729"/>
            </a:xfrm>
            <a:custGeom>
              <a:avLst/>
              <a:gdLst/>
              <a:ahLst/>
              <a:cxnLst/>
              <a:rect l="l" t="t" r="r" b="b"/>
              <a:pathLst>
                <a:path w="529863" h="503173" extrusionOk="0">
                  <a:moveTo>
                    <a:pt x="284791" y="7"/>
                  </a:moveTo>
                  <a:cubicBezTo>
                    <a:pt x="128581" y="-1263"/>
                    <a:pt x="-16834" y="165107"/>
                    <a:pt x="1581" y="320047"/>
                  </a:cubicBezTo>
                  <a:cubicBezTo>
                    <a:pt x="39046" y="421647"/>
                    <a:pt x="142551" y="523247"/>
                    <a:pt x="258756" y="499752"/>
                  </a:cubicBezTo>
                  <a:cubicBezTo>
                    <a:pt x="592766" y="480702"/>
                    <a:pt x="637216" y="23502"/>
                    <a:pt x="284791" y="7"/>
                  </a:cubicBezTo>
                  <a:close/>
                  <a:moveTo>
                    <a:pt x="19996" y="279407"/>
                  </a:moveTo>
                  <a:cubicBezTo>
                    <a:pt x="54921" y="-23488"/>
                    <a:pt x="481641" y="-98418"/>
                    <a:pt x="510216" y="240037"/>
                  </a:cubicBezTo>
                  <a:cubicBezTo>
                    <a:pt x="498786" y="520707"/>
                    <a:pt x="47936" y="583572"/>
                    <a:pt x="19996" y="279407"/>
                  </a:cubicBezTo>
                  <a:close/>
                  <a:moveTo>
                    <a:pt x="420681" y="98432"/>
                  </a:moveTo>
                  <a:cubicBezTo>
                    <a:pt x="381311" y="71127"/>
                    <a:pt x="348926" y="18422"/>
                    <a:pt x="295586" y="25407"/>
                  </a:cubicBezTo>
                  <a:cubicBezTo>
                    <a:pt x="53651" y="36837"/>
                    <a:pt x="-66364" y="403867"/>
                    <a:pt x="216211" y="458477"/>
                  </a:cubicBezTo>
                  <a:cubicBezTo>
                    <a:pt x="395916" y="493402"/>
                    <a:pt x="611181" y="219082"/>
                    <a:pt x="420681" y="98432"/>
                  </a:cubicBezTo>
                  <a:close/>
                  <a:moveTo>
                    <a:pt x="448621" y="292742"/>
                  </a:moveTo>
                  <a:cubicBezTo>
                    <a:pt x="448621" y="321952"/>
                    <a:pt x="428301" y="340367"/>
                    <a:pt x="413061" y="361957"/>
                  </a:cubicBezTo>
                  <a:cubicBezTo>
                    <a:pt x="404171" y="358782"/>
                    <a:pt x="396551" y="356242"/>
                    <a:pt x="385756" y="353067"/>
                  </a:cubicBezTo>
                  <a:cubicBezTo>
                    <a:pt x="387026" y="363227"/>
                    <a:pt x="387661" y="371482"/>
                    <a:pt x="388931" y="381007"/>
                  </a:cubicBezTo>
                  <a:cubicBezTo>
                    <a:pt x="376866" y="389262"/>
                    <a:pt x="363531" y="398152"/>
                    <a:pt x="354006" y="405137"/>
                  </a:cubicBezTo>
                  <a:cubicBezTo>
                    <a:pt x="338131" y="406407"/>
                    <a:pt x="337496" y="387357"/>
                    <a:pt x="321621" y="391167"/>
                  </a:cubicBezTo>
                  <a:cubicBezTo>
                    <a:pt x="324796" y="427362"/>
                    <a:pt x="291776" y="441967"/>
                    <a:pt x="249231" y="436887"/>
                  </a:cubicBezTo>
                  <a:cubicBezTo>
                    <a:pt x="251771" y="392437"/>
                    <a:pt x="220656" y="385452"/>
                    <a:pt x="220656" y="434982"/>
                  </a:cubicBezTo>
                  <a:cubicBezTo>
                    <a:pt x="184461" y="439427"/>
                    <a:pt x="133661" y="422917"/>
                    <a:pt x="131121" y="384182"/>
                  </a:cubicBezTo>
                  <a:cubicBezTo>
                    <a:pt x="123501" y="374022"/>
                    <a:pt x="104451" y="381007"/>
                    <a:pt x="100641" y="363862"/>
                  </a:cubicBezTo>
                  <a:cubicBezTo>
                    <a:pt x="126676" y="342907"/>
                    <a:pt x="106356" y="340367"/>
                    <a:pt x="84131" y="337192"/>
                  </a:cubicBezTo>
                  <a:cubicBezTo>
                    <a:pt x="71431" y="309887"/>
                    <a:pt x="63176" y="283217"/>
                    <a:pt x="75241" y="253372"/>
                  </a:cubicBezTo>
                  <a:cubicBezTo>
                    <a:pt x="119691" y="255277"/>
                    <a:pt x="140011" y="238132"/>
                    <a:pt x="83496" y="227972"/>
                  </a:cubicBezTo>
                  <a:cubicBezTo>
                    <a:pt x="84131" y="196857"/>
                    <a:pt x="95561" y="172092"/>
                    <a:pt x="115246" y="151137"/>
                  </a:cubicBezTo>
                  <a:cubicBezTo>
                    <a:pt x="136836" y="150502"/>
                    <a:pt x="150171" y="158122"/>
                    <a:pt x="136201" y="127642"/>
                  </a:cubicBezTo>
                  <a:cubicBezTo>
                    <a:pt x="174301" y="55252"/>
                    <a:pt x="207321" y="129547"/>
                    <a:pt x="205416" y="75572"/>
                  </a:cubicBezTo>
                  <a:cubicBezTo>
                    <a:pt x="230181" y="48267"/>
                    <a:pt x="263201" y="50172"/>
                    <a:pt x="297491" y="50172"/>
                  </a:cubicBezTo>
                  <a:cubicBezTo>
                    <a:pt x="295586" y="66682"/>
                    <a:pt x="308921" y="107957"/>
                    <a:pt x="323526" y="78747"/>
                  </a:cubicBezTo>
                  <a:cubicBezTo>
                    <a:pt x="319716" y="17152"/>
                    <a:pt x="382581" y="87637"/>
                    <a:pt x="399726" y="104147"/>
                  </a:cubicBezTo>
                  <a:cubicBezTo>
                    <a:pt x="394646" y="118117"/>
                    <a:pt x="385121" y="125102"/>
                    <a:pt x="399726" y="135262"/>
                  </a:cubicBezTo>
                  <a:cubicBezTo>
                    <a:pt x="409251" y="131452"/>
                    <a:pt x="417506" y="128277"/>
                    <a:pt x="427031" y="124467"/>
                  </a:cubicBezTo>
                  <a:cubicBezTo>
                    <a:pt x="440366" y="138437"/>
                    <a:pt x="451161" y="153042"/>
                    <a:pt x="461956" y="168917"/>
                  </a:cubicBezTo>
                  <a:cubicBezTo>
                    <a:pt x="451796" y="175267"/>
                    <a:pt x="444176" y="179712"/>
                    <a:pt x="436556" y="184157"/>
                  </a:cubicBezTo>
                  <a:cubicBezTo>
                    <a:pt x="444176" y="199397"/>
                    <a:pt x="459416" y="190507"/>
                    <a:pt x="470846" y="199397"/>
                  </a:cubicBezTo>
                  <a:cubicBezTo>
                    <a:pt x="475926" y="240037"/>
                    <a:pt x="467036" y="281947"/>
                    <a:pt x="416871" y="266707"/>
                  </a:cubicBezTo>
                  <a:cubicBezTo>
                    <a:pt x="388931" y="285757"/>
                    <a:pt x="434651" y="288297"/>
                    <a:pt x="448621" y="292742"/>
                  </a:cubicBezTo>
                  <a:close/>
                  <a:moveTo>
                    <a:pt x="304476" y="222892"/>
                  </a:moveTo>
                  <a:cubicBezTo>
                    <a:pt x="320351" y="55887"/>
                    <a:pt x="287966" y="104782"/>
                    <a:pt x="251771" y="225432"/>
                  </a:cubicBezTo>
                  <a:cubicBezTo>
                    <a:pt x="240341" y="251467"/>
                    <a:pt x="258121" y="281312"/>
                    <a:pt x="287966" y="270517"/>
                  </a:cubicBezTo>
                  <a:cubicBezTo>
                    <a:pt x="318446" y="260357"/>
                    <a:pt x="343846" y="239402"/>
                    <a:pt x="374961" y="232417"/>
                  </a:cubicBezTo>
                  <a:cubicBezTo>
                    <a:pt x="383216" y="231147"/>
                    <a:pt x="386391" y="223527"/>
                    <a:pt x="384486" y="215272"/>
                  </a:cubicBezTo>
                  <a:cubicBezTo>
                    <a:pt x="370516" y="186062"/>
                    <a:pt x="329241" y="220987"/>
                    <a:pt x="304476" y="222892"/>
                  </a:cubicBezTo>
                  <a:close/>
                  <a:moveTo>
                    <a:pt x="273996" y="229242"/>
                  </a:moveTo>
                  <a:cubicBezTo>
                    <a:pt x="273996" y="219717"/>
                    <a:pt x="273996" y="209557"/>
                    <a:pt x="282886" y="201937"/>
                  </a:cubicBezTo>
                  <a:cubicBezTo>
                    <a:pt x="282251" y="220352"/>
                    <a:pt x="282251" y="220987"/>
                    <a:pt x="273996" y="22924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49" name="Google Shape;78;p2">
              <a:extLst>
                <a:ext uri="{FF2B5EF4-FFF2-40B4-BE49-F238E27FC236}">
                  <a16:creationId xmlns:a16="http://schemas.microsoft.com/office/drawing/2014/main" id="{388C9D55-90F3-4356-87AA-968D9E2FEAF3}"/>
                </a:ext>
              </a:extLst>
            </p:cNvPr>
            <p:cNvSpPr/>
            <p:nvPr/>
          </p:nvSpPr>
          <p:spPr>
            <a:xfrm>
              <a:off x="933400" y="1069738"/>
              <a:ext cx="175646" cy="373020"/>
            </a:xfrm>
            <a:custGeom>
              <a:avLst/>
              <a:gdLst/>
              <a:ahLst/>
              <a:cxnLst/>
              <a:rect l="l" t="t" r="r" b="b"/>
              <a:pathLst>
                <a:path w="342723" h="727844" extrusionOk="0">
                  <a:moveTo>
                    <a:pt x="45039" y="381062"/>
                  </a:moveTo>
                  <a:cubicBezTo>
                    <a:pt x="-1317" y="378522"/>
                    <a:pt x="-11476" y="360107"/>
                    <a:pt x="12653" y="325182"/>
                  </a:cubicBezTo>
                  <a:cubicBezTo>
                    <a:pt x="39958" y="272477"/>
                    <a:pt x="46308" y="211517"/>
                    <a:pt x="66628" y="156272"/>
                  </a:cubicBezTo>
                  <a:cubicBezTo>
                    <a:pt x="88853" y="99757"/>
                    <a:pt x="95203" y="15302"/>
                    <a:pt x="167594" y="3237"/>
                  </a:cubicBezTo>
                  <a:cubicBezTo>
                    <a:pt x="221569" y="-5653"/>
                    <a:pt x="288878" y="2602"/>
                    <a:pt x="328249" y="42607"/>
                  </a:cubicBezTo>
                  <a:cubicBezTo>
                    <a:pt x="373333" y="154367"/>
                    <a:pt x="300944" y="280097"/>
                    <a:pt x="276178" y="390587"/>
                  </a:cubicBezTo>
                  <a:cubicBezTo>
                    <a:pt x="243158" y="499807"/>
                    <a:pt x="232999" y="643317"/>
                    <a:pt x="145369" y="722058"/>
                  </a:cubicBezTo>
                  <a:cubicBezTo>
                    <a:pt x="-64181" y="765872"/>
                    <a:pt x="59008" y="549972"/>
                    <a:pt x="74883" y="441387"/>
                  </a:cubicBezTo>
                  <a:cubicBezTo>
                    <a:pt x="96474" y="381062"/>
                    <a:pt x="117428" y="174052"/>
                    <a:pt x="175849" y="160082"/>
                  </a:cubicBezTo>
                  <a:cubicBezTo>
                    <a:pt x="205058" y="153097"/>
                    <a:pt x="234269" y="157542"/>
                    <a:pt x="230458" y="194372"/>
                  </a:cubicBezTo>
                  <a:cubicBezTo>
                    <a:pt x="240619" y="221677"/>
                    <a:pt x="129494" y="694752"/>
                    <a:pt x="133303" y="503617"/>
                  </a:cubicBezTo>
                  <a:cubicBezTo>
                    <a:pt x="150449" y="416622"/>
                    <a:pt x="184103" y="330262"/>
                    <a:pt x="181564" y="240727"/>
                  </a:cubicBezTo>
                  <a:cubicBezTo>
                    <a:pt x="130764" y="306132"/>
                    <a:pt x="137749" y="399477"/>
                    <a:pt x="109174" y="476312"/>
                  </a:cubicBezTo>
                  <a:cubicBezTo>
                    <a:pt x="105999" y="530922"/>
                    <a:pt x="19639" y="685862"/>
                    <a:pt x="116158" y="683957"/>
                  </a:cubicBezTo>
                  <a:cubicBezTo>
                    <a:pt x="208869" y="661732"/>
                    <a:pt x="231094" y="334707"/>
                    <a:pt x="270464" y="240092"/>
                  </a:cubicBezTo>
                  <a:cubicBezTo>
                    <a:pt x="276178" y="187387"/>
                    <a:pt x="298403" y="109917"/>
                    <a:pt x="252683" y="71182"/>
                  </a:cubicBezTo>
                  <a:cubicBezTo>
                    <a:pt x="213314" y="45147"/>
                    <a:pt x="172674" y="52767"/>
                    <a:pt x="144099" y="91502"/>
                  </a:cubicBezTo>
                  <a:cubicBezTo>
                    <a:pt x="95203" y="181037"/>
                    <a:pt x="85678" y="287717"/>
                    <a:pt x="45039" y="381062"/>
                  </a:cubicBezTo>
                  <a:close/>
                  <a:moveTo>
                    <a:pt x="300944" y="198182"/>
                  </a:moveTo>
                  <a:cubicBezTo>
                    <a:pt x="321899" y="177227"/>
                    <a:pt x="309833" y="138492"/>
                    <a:pt x="314914" y="110552"/>
                  </a:cubicBezTo>
                  <a:cubicBezTo>
                    <a:pt x="319358" y="81342"/>
                    <a:pt x="322533" y="48322"/>
                    <a:pt x="288878" y="37527"/>
                  </a:cubicBezTo>
                  <a:cubicBezTo>
                    <a:pt x="246969" y="18477"/>
                    <a:pt x="137749" y="1332"/>
                    <a:pt x="133303" y="62292"/>
                  </a:cubicBezTo>
                  <a:cubicBezTo>
                    <a:pt x="243794" y="-24703"/>
                    <a:pt x="324439" y="87692"/>
                    <a:pt x="300944" y="200722"/>
                  </a:cubicBezTo>
                  <a:cubicBezTo>
                    <a:pt x="300944" y="200087"/>
                    <a:pt x="300944" y="199452"/>
                    <a:pt x="300944" y="198182"/>
                  </a:cubicBezTo>
                  <a:close/>
                  <a:moveTo>
                    <a:pt x="124414" y="705547"/>
                  </a:moveTo>
                  <a:cubicBezTo>
                    <a:pt x="92028" y="697927"/>
                    <a:pt x="73614" y="690942"/>
                    <a:pt x="47578" y="676972"/>
                  </a:cubicBezTo>
                  <a:cubicBezTo>
                    <a:pt x="39958" y="705547"/>
                    <a:pt x="97744" y="711897"/>
                    <a:pt x="124414" y="70554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0" name="Google Shape;79;p2">
              <a:extLst>
                <a:ext uri="{FF2B5EF4-FFF2-40B4-BE49-F238E27FC236}">
                  <a16:creationId xmlns:a16="http://schemas.microsoft.com/office/drawing/2014/main" id="{F3A5549A-876E-45E2-A621-E4C04BEA4816}"/>
                </a:ext>
              </a:extLst>
            </p:cNvPr>
            <p:cNvSpPr/>
            <p:nvPr/>
          </p:nvSpPr>
          <p:spPr>
            <a:xfrm>
              <a:off x="8204352" y="3801552"/>
              <a:ext cx="240787" cy="203050"/>
            </a:xfrm>
            <a:custGeom>
              <a:avLst/>
              <a:gdLst/>
              <a:ahLst/>
              <a:cxnLst/>
              <a:rect l="l" t="t" r="r" b="b"/>
              <a:pathLst>
                <a:path w="279985" h="236105" extrusionOk="0">
                  <a:moveTo>
                    <a:pt x="224300" y="47511"/>
                  </a:moveTo>
                  <a:cubicBezTo>
                    <a:pt x="226204" y="79261"/>
                    <a:pt x="221125" y="105931"/>
                    <a:pt x="208425" y="131331"/>
                  </a:cubicBezTo>
                  <a:cubicBezTo>
                    <a:pt x="221759" y="154826"/>
                    <a:pt x="285895" y="220866"/>
                    <a:pt x="279545" y="236106"/>
                  </a:cubicBezTo>
                  <a:cubicBezTo>
                    <a:pt x="240175" y="235471"/>
                    <a:pt x="211600" y="195466"/>
                    <a:pt x="177309" y="177686"/>
                  </a:cubicBezTo>
                  <a:cubicBezTo>
                    <a:pt x="143654" y="201816"/>
                    <a:pt x="92220" y="247536"/>
                    <a:pt x="79520" y="180226"/>
                  </a:cubicBezTo>
                  <a:cubicBezTo>
                    <a:pt x="76979" y="116091"/>
                    <a:pt x="-26525" y="129426"/>
                    <a:pt x="6495" y="57671"/>
                  </a:cubicBezTo>
                  <a:cubicBezTo>
                    <a:pt x="60470" y="-73774"/>
                    <a:pt x="91584" y="62116"/>
                    <a:pt x="169054" y="51321"/>
                  </a:cubicBezTo>
                  <a:cubicBezTo>
                    <a:pt x="187470" y="48781"/>
                    <a:pt x="205884" y="39891"/>
                    <a:pt x="224300" y="47511"/>
                  </a:cubicBezTo>
                  <a:close/>
                  <a:moveTo>
                    <a:pt x="217950" y="187211"/>
                  </a:moveTo>
                  <a:cubicBezTo>
                    <a:pt x="218584" y="187211"/>
                    <a:pt x="218584" y="186576"/>
                    <a:pt x="219220" y="186576"/>
                  </a:cubicBezTo>
                  <a:cubicBezTo>
                    <a:pt x="218584" y="186576"/>
                    <a:pt x="217950" y="187211"/>
                    <a:pt x="217315" y="187211"/>
                  </a:cubicBezTo>
                  <a:cubicBezTo>
                    <a:pt x="224300" y="172606"/>
                    <a:pt x="211600" y="156096"/>
                    <a:pt x="196995" y="158636"/>
                  </a:cubicBezTo>
                  <a:cubicBezTo>
                    <a:pt x="196359" y="171336"/>
                    <a:pt x="210329" y="177686"/>
                    <a:pt x="217950" y="187211"/>
                  </a:cubicBezTo>
                  <a:close/>
                  <a:moveTo>
                    <a:pt x="87140" y="47511"/>
                  </a:moveTo>
                  <a:cubicBezTo>
                    <a:pt x="75075" y="65926"/>
                    <a:pt x="63009" y="84341"/>
                    <a:pt x="50945" y="103391"/>
                  </a:cubicBezTo>
                  <a:cubicBezTo>
                    <a:pt x="66820" y="119901"/>
                    <a:pt x="82059" y="135776"/>
                    <a:pt x="96665" y="151016"/>
                  </a:cubicBezTo>
                  <a:cubicBezTo>
                    <a:pt x="125875" y="135776"/>
                    <a:pt x="153815" y="112281"/>
                    <a:pt x="149370" y="78626"/>
                  </a:cubicBezTo>
                  <a:cubicBezTo>
                    <a:pt x="129684" y="69101"/>
                    <a:pt x="110634" y="59576"/>
                    <a:pt x="87140" y="47511"/>
                  </a:cubicBezTo>
                  <a:close/>
                  <a:moveTo>
                    <a:pt x="202075" y="76721"/>
                  </a:moveTo>
                  <a:cubicBezTo>
                    <a:pt x="174770" y="65291"/>
                    <a:pt x="153179" y="156096"/>
                    <a:pt x="103650" y="180861"/>
                  </a:cubicBezTo>
                  <a:cubicBezTo>
                    <a:pt x="118890" y="218961"/>
                    <a:pt x="213504" y="108471"/>
                    <a:pt x="202075" y="76721"/>
                  </a:cubicBezTo>
                  <a:close/>
                  <a:moveTo>
                    <a:pt x="22370" y="86246"/>
                  </a:moveTo>
                  <a:cubicBezTo>
                    <a:pt x="54120" y="77356"/>
                    <a:pt x="60470" y="54496"/>
                    <a:pt x="67454" y="32271"/>
                  </a:cubicBezTo>
                  <a:cubicBezTo>
                    <a:pt x="47134" y="4331"/>
                    <a:pt x="24909" y="63386"/>
                    <a:pt x="22370" y="8624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1" name="Google Shape;80;p2">
              <a:extLst>
                <a:ext uri="{FF2B5EF4-FFF2-40B4-BE49-F238E27FC236}">
                  <a16:creationId xmlns:a16="http://schemas.microsoft.com/office/drawing/2014/main" id="{E19FCB57-4C77-4452-9EDE-9CF05C41F758}"/>
                </a:ext>
              </a:extLst>
            </p:cNvPr>
            <p:cNvSpPr/>
            <p:nvPr/>
          </p:nvSpPr>
          <p:spPr>
            <a:xfrm>
              <a:off x="8204357" y="240186"/>
              <a:ext cx="175884" cy="174728"/>
            </a:xfrm>
            <a:custGeom>
              <a:avLst/>
              <a:gdLst/>
              <a:ahLst/>
              <a:cxnLst/>
              <a:rect l="l" t="t" r="r" b="b"/>
              <a:pathLst>
                <a:path w="204516" h="203172" extrusionOk="0">
                  <a:moveTo>
                    <a:pt x="139555" y="137768"/>
                  </a:moveTo>
                  <a:cubicBezTo>
                    <a:pt x="146541" y="154278"/>
                    <a:pt x="194166" y="201903"/>
                    <a:pt x="157971" y="203173"/>
                  </a:cubicBezTo>
                  <a:cubicBezTo>
                    <a:pt x="139555" y="186028"/>
                    <a:pt x="135746" y="163168"/>
                    <a:pt x="112250" y="148563"/>
                  </a:cubicBezTo>
                  <a:cubicBezTo>
                    <a:pt x="-110000" y="230478"/>
                    <a:pt x="44941" y="-27967"/>
                    <a:pt x="173210" y="2513"/>
                  </a:cubicBezTo>
                  <a:cubicBezTo>
                    <a:pt x="245600" y="34898"/>
                    <a:pt x="174480" y="104113"/>
                    <a:pt x="139555" y="137768"/>
                  </a:cubicBezTo>
                  <a:close/>
                  <a:moveTo>
                    <a:pt x="184005" y="29183"/>
                  </a:moveTo>
                  <a:cubicBezTo>
                    <a:pt x="117330" y="1243"/>
                    <a:pt x="46846" y="67283"/>
                    <a:pt x="20175" y="123163"/>
                  </a:cubicBezTo>
                  <a:cubicBezTo>
                    <a:pt x="32875" y="190473"/>
                    <a:pt x="196705" y="83158"/>
                    <a:pt x="184005" y="2918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52" name="Google Shape;81;p2">
              <a:extLst>
                <a:ext uri="{FF2B5EF4-FFF2-40B4-BE49-F238E27FC236}">
                  <a16:creationId xmlns:a16="http://schemas.microsoft.com/office/drawing/2014/main" id="{991E8543-6457-41EF-A093-9737A2F9EE38}"/>
                </a:ext>
              </a:extLst>
            </p:cNvPr>
            <p:cNvGrpSpPr/>
            <p:nvPr/>
          </p:nvGrpSpPr>
          <p:grpSpPr>
            <a:xfrm>
              <a:off x="8513660" y="3273951"/>
              <a:ext cx="236955" cy="259508"/>
              <a:chOff x="1624551" y="3569952"/>
              <a:chExt cx="236955" cy="259508"/>
            </a:xfrm>
          </p:grpSpPr>
          <p:sp>
            <p:nvSpPr>
              <p:cNvPr id="78" name="Google Shape;82;p2">
                <a:extLst>
                  <a:ext uri="{FF2B5EF4-FFF2-40B4-BE49-F238E27FC236}">
                    <a16:creationId xmlns:a16="http://schemas.microsoft.com/office/drawing/2014/main" id="{C7DF3842-B862-4240-8CA8-E8140697D3DC}"/>
                  </a:ext>
                </a:extLst>
              </p:cNvPr>
              <p:cNvSpPr/>
              <p:nvPr/>
            </p:nvSpPr>
            <p:spPr>
              <a:xfrm>
                <a:off x="1624551" y="3569952"/>
                <a:ext cx="224786" cy="227651"/>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9" name="Google Shape;83;p2">
                <a:extLst>
                  <a:ext uri="{FF2B5EF4-FFF2-40B4-BE49-F238E27FC236}">
                    <a16:creationId xmlns:a16="http://schemas.microsoft.com/office/drawing/2014/main" id="{320ACF7E-2D7B-4CBE-B2F6-5E5661CAFDC7}"/>
                  </a:ext>
                </a:extLst>
              </p:cNvPr>
              <p:cNvSpPr/>
              <p:nvPr/>
            </p:nvSpPr>
            <p:spPr>
              <a:xfrm>
                <a:off x="1625368" y="3599553"/>
                <a:ext cx="236138" cy="229907"/>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53" name="Google Shape;84;p2">
              <a:extLst>
                <a:ext uri="{FF2B5EF4-FFF2-40B4-BE49-F238E27FC236}">
                  <a16:creationId xmlns:a16="http://schemas.microsoft.com/office/drawing/2014/main" id="{C2A2A45D-1013-46CC-9BE8-C87DA338C1B2}"/>
                </a:ext>
              </a:extLst>
            </p:cNvPr>
            <p:cNvGrpSpPr/>
            <p:nvPr/>
          </p:nvGrpSpPr>
          <p:grpSpPr>
            <a:xfrm>
              <a:off x="3637530" y="4055057"/>
              <a:ext cx="418773" cy="520154"/>
              <a:chOff x="3637530" y="4055057"/>
              <a:chExt cx="418773" cy="520154"/>
            </a:xfrm>
          </p:grpSpPr>
          <p:sp>
            <p:nvSpPr>
              <p:cNvPr id="76" name="Google Shape;85;p2">
                <a:extLst>
                  <a:ext uri="{FF2B5EF4-FFF2-40B4-BE49-F238E27FC236}">
                    <a16:creationId xmlns:a16="http://schemas.microsoft.com/office/drawing/2014/main" id="{9BEFDE11-15FD-4E8D-A436-F119FB103822}"/>
                  </a:ext>
                </a:extLst>
              </p:cNvPr>
              <p:cNvSpPr/>
              <p:nvPr/>
            </p:nvSpPr>
            <p:spPr>
              <a:xfrm rot="5542319">
                <a:off x="3769303" y="4204066"/>
                <a:ext cx="285154" cy="277283"/>
              </a:xfrm>
              <a:custGeom>
                <a:avLst/>
                <a:gdLst/>
                <a:ahLst/>
                <a:cxnLst/>
                <a:rect l="l" t="t" r="r" b="b"/>
                <a:pathLst>
                  <a:path w="15179" h="14760" extrusionOk="0">
                    <a:moveTo>
                      <a:pt x="9741" y="0"/>
                    </a:moveTo>
                    <a:lnTo>
                      <a:pt x="8306" y="60"/>
                    </a:lnTo>
                    <a:lnTo>
                      <a:pt x="7649" y="179"/>
                    </a:lnTo>
                    <a:lnTo>
                      <a:pt x="7052" y="299"/>
                    </a:lnTo>
                    <a:lnTo>
                      <a:pt x="6514" y="478"/>
                    </a:lnTo>
                    <a:lnTo>
                      <a:pt x="5916" y="777"/>
                    </a:lnTo>
                    <a:lnTo>
                      <a:pt x="5319" y="1135"/>
                    </a:lnTo>
                    <a:lnTo>
                      <a:pt x="4721" y="1613"/>
                    </a:lnTo>
                    <a:lnTo>
                      <a:pt x="3765" y="2510"/>
                    </a:lnTo>
                    <a:lnTo>
                      <a:pt x="2809" y="3585"/>
                    </a:lnTo>
                    <a:lnTo>
                      <a:pt x="1913" y="4840"/>
                    </a:lnTo>
                    <a:lnTo>
                      <a:pt x="1494" y="5557"/>
                    </a:lnTo>
                    <a:lnTo>
                      <a:pt x="1076" y="6215"/>
                    </a:lnTo>
                    <a:lnTo>
                      <a:pt x="777" y="6932"/>
                    </a:lnTo>
                    <a:lnTo>
                      <a:pt x="478" y="7649"/>
                    </a:lnTo>
                    <a:lnTo>
                      <a:pt x="239" y="8366"/>
                    </a:lnTo>
                    <a:lnTo>
                      <a:pt x="60" y="9023"/>
                    </a:lnTo>
                    <a:lnTo>
                      <a:pt x="0" y="9740"/>
                    </a:lnTo>
                    <a:lnTo>
                      <a:pt x="0" y="10457"/>
                    </a:lnTo>
                    <a:lnTo>
                      <a:pt x="120" y="11115"/>
                    </a:lnTo>
                    <a:lnTo>
                      <a:pt x="299" y="11772"/>
                    </a:lnTo>
                    <a:lnTo>
                      <a:pt x="419" y="12071"/>
                    </a:lnTo>
                    <a:lnTo>
                      <a:pt x="598" y="12429"/>
                    </a:lnTo>
                    <a:lnTo>
                      <a:pt x="1076" y="12907"/>
                    </a:lnTo>
                    <a:lnTo>
                      <a:pt x="1554" y="13385"/>
                    </a:lnTo>
                    <a:lnTo>
                      <a:pt x="2152" y="13684"/>
                    </a:lnTo>
                    <a:lnTo>
                      <a:pt x="2749" y="13983"/>
                    </a:lnTo>
                    <a:lnTo>
                      <a:pt x="3406" y="14222"/>
                    </a:lnTo>
                    <a:lnTo>
                      <a:pt x="4721" y="14640"/>
                    </a:lnTo>
                    <a:lnTo>
                      <a:pt x="5378" y="14760"/>
                    </a:lnTo>
                    <a:lnTo>
                      <a:pt x="6036" y="14760"/>
                    </a:lnTo>
                    <a:lnTo>
                      <a:pt x="6753" y="14700"/>
                    </a:lnTo>
                    <a:lnTo>
                      <a:pt x="7410" y="14521"/>
                    </a:lnTo>
                    <a:lnTo>
                      <a:pt x="8067" y="14222"/>
                    </a:lnTo>
                    <a:lnTo>
                      <a:pt x="8665" y="13923"/>
                    </a:lnTo>
                    <a:lnTo>
                      <a:pt x="9262" y="13505"/>
                    </a:lnTo>
                    <a:lnTo>
                      <a:pt x="9741" y="13086"/>
                    </a:lnTo>
                    <a:lnTo>
                      <a:pt x="10756" y="12130"/>
                    </a:lnTo>
                    <a:lnTo>
                      <a:pt x="11832" y="10935"/>
                    </a:lnTo>
                    <a:lnTo>
                      <a:pt x="12908" y="9561"/>
                    </a:lnTo>
                    <a:lnTo>
                      <a:pt x="13445" y="8844"/>
                    </a:lnTo>
                    <a:lnTo>
                      <a:pt x="13923" y="8067"/>
                    </a:lnTo>
                    <a:lnTo>
                      <a:pt x="14342" y="7290"/>
                    </a:lnTo>
                    <a:lnTo>
                      <a:pt x="14700" y="6513"/>
                    </a:lnTo>
                    <a:lnTo>
                      <a:pt x="14939" y="5737"/>
                    </a:lnTo>
                    <a:lnTo>
                      <a:pt x="15118" y="4960"/>
                    </a:lnTo>
                    <a:lnTo>
                      <a:pt x="15178" y="4183"/>
                    </a:lnTo>
                    <a:lnTo>
                      <a:pt x="15178" y="3466"/>
                    </a:lnTo>
                    <a:lnTo>
                      <a:pt x="15059" y="3107"/>
                    </a:lnTo>
                    <a:lnTo>
                      <a:pt x="14999" y="2749"/>
                    </a:lnTo>
                    <a:lnTo>
                      <a:pt x="14820" y="2390"/>
                    </a:lnTo>
                    <a:lnTo>
                      <a:pt x="14640" y="2092"/>
                    </a:lnTo>
                    <a:lnTo>
                      <a:pt x="14222" y="1494"/>
                    </a:lnTo>
                    <a:lnTo>
                      <a:pt x="13684" y="1076"/>
                    </a:lnTo>
                    <a:lnTo>
                      <a:pt x="13147" y="657"/>
                    </a:lnTo>
                    <a:lnTo>
                      <a:pt x="12489" y="418"/>
                    </a:lnTo>
                    <a:lnTo>
                      <a:pt x="11832" y="179"/>
                    </a:lnTo>
                    <a:lnTo>
                      <a:pt x="11115" y="60"/>
                    </a:lnTo>
                    <a:lnTo>
                      <a:pt x="10458" y="0"/>
                    </a:ln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7" name="Google Shape;86;p2">
                <a:extLst>
                  <a:ext uri="{FF2B5EF4-FFF2-40B4-BE49-F238E27FC236}">
                    <a16:creationId xmlns:a16="http://schemas.microsoft.com/office/drawing/2014/main" id="{FDA24A41-B4F9-4E3A-997E-85B5DAEB1210}"/>
                  </a:ext>
                </a:extLst>
              </p:cNvPr>
              <p:cNvSpPr/>
              <p:nvPr/>
            </p:nvSpPr>
            <p:spPr>
              <a:xfrm rot="9304419">
                <a:off x="3726725" y="4079275"/>
                <a:ext cx="219185" cy="471718"/>
              </a:xfrm>
              <a:custGeom>
                <a:avLst/>
                <a:gdLst/>
                <a:ahLst/>
                <a:cxnLst/>
                <a:rect l="l" t="t" r="r" b="b"/>
                <a:pathLst>
                  <a:path w="254831" h="548433" extrusionOk="0">
                    <a:moveTo>
                      <a:pt x="1225" y="243944"/>
                    </a:moveTo>
                    <a:cubicBezTo>
                      <a:pt x="-2584" y="153774"/>
                      <a:pt x="42500" y="76304"/>
                      <a:pt x="97110" y="7724"/>
                    </a:cubicBezTo>
                    <a:cubicBezTo>
                      <a:pt x="171406" y="-39901"/>
                      <a:pt x="226016" y="146154"/>
                      <a:pt x="245700" y="198859"/>
                    </a:cubicBezTo>
                    <a:cubicBezTo>
                      <a:pt x="276816" y="301729"/>
                      <a:pt x="217125" y="404599"/>
                      <a:pt x="233000" y="508104"/>
                    </a:cubicBezTo>
                    <a:cubicBezTo>
                      <a:pt x="238716" y="550014"/>
                      <a:pt x="205696" y="569064"/>
                      <a:pt x="201250" y="516359"/>
                    </a:cubicBezTo>
                    <a:cubicBezTo>
                      <a:pt x="164421" y="394439"/>
                      <a:pt x="-16554" y="432539"/>
                      <a:pt x="1225" y="243944"/>
                    </a:cubicBezTo>
                    <a:close/>
                    <a:moveTo>
                      <a:pt x="114891" y="236959"/>
                    </a:moveTo>
                    <a:cubicBezTo>
                      <a:pt x="103460" y="228704"/>
                      <a:pt x="21546" y="208384"/>
                      <a:pt x="57741" y="193144"/>
                    </a:cubicBezTo>
                    <a:cubicBezTo>
                      <a:pt x="78060" y="196954"/>
                      <a:pt x="88856" y="214734"/>
                      <a:pt x="111081" y="216639"/>
                    </a:cubicBezTo>
                    <a:cubicBezTo>
                      <a:pt x="108541" y="178539"/>
                      <a:pt x="97110" y="143614"/>
                      <a:pt x="105366" y="106784"/>
                    </a:cubicBezTo>
                    <a:cubicBezTo>
                      <a:pt x="111081" y="107419"/>
                      <a:pt x="116160" y="108054"/>
                      <a:pt x="120606" y="108054"/>
                    </a:cubicBezTo>
                    <a:cubicBezTo>
                      <a:pt x="123781" y="120754"/>
                      <a:pt x="126321" y="131549"/>
                      <a:pt x="129496" y="144249"/>
                    </a:cubicBezTo>
                    <a:cubicBezTo>
                      <a:pt x="182200" y="111229"/>
                      <a:pt x="146641" y="163934"/>
                      <a:pt x="130766" y="183619"/>
                    </a:cubicBezTo>
                    <a:cubicBezTo>
                      <a:pt x="135210" y="210924"/>
                      <a:pt x="135846" y="238229"/>
                      <a:pt x="149181" y="265534"/>
                    </a:cubicBezTo>
                    <a:cubicBezTo>
                      <a:pt x="163785" y="256009"/>
                      <a:pt x="167596" y="243309"/>
                      <a:pt x="186646" y="248389"/>
                    </a:cubicBezTo>
                    <a:cubicBezTo>
                      <a:pt x="175216" y="271249"/>
                      <a:pt x="149181" y="286489"/>
                      <a:pt x="154896" y="311254"/>
                    </a:cubicBezTo>
                    <a:cubicBezTo>
                      <a:pt x="171406" y="348719"/>
                      <a:pt x="172675" y="392534"/>
                      <a:pt x="204425" y="422379"/>
                    </a:cubicBezTo>
                    <a:cubicBezTo>
                      <a:pt x="252050" y="285219"/>
                      <a:pt x="233635" y="137264"/>
                      <a:pt x="136481" y="27409"/>
                    </a:cubicBezTo>
                    <a:cubicBezTo>
                      <a:pt x="86950" y="-1166"/>
                      <a:pt x="19006" y="177269"/>
                      <a:pt x="24721" y="219814"/>
                    </a:cubicBezTo>
                    <a:cubicBezTo>
                      <a:pt x="8846" y="328399"/>
                      <a:pt x="72346" y="405869"/>
                      <a:pt x="175216" y="431269"/>
                    </a:cubicBezTo>
                    <a:cubicBezTo>
                      <a:pt x="170135" y="362689"/>
                      <a:pt x="112350" y="366499"/>
                      <a:pt x="80600" y="323954"/>
                    </a:cubicBezTo>
                    <a:cubicBezTo>
                      <a:pt x="106635" y="317604"/>
                      <a:pt x="118700" y="347449"/>
                      <a:pt x="140925" y="338559"/>
                    </a:cubicBezTo>
                    <a:cubicBezTo>
                      <a:pt x="128225" y="305539"/>
                      <a:pt x="128860" y="270614"/>
                      <a:pt x="114891" y="236959"/>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54" name="Google Shape;87;p2">
              <a:extLst>
                <a:ext uri="{FF2B5EF4-FFF2-40B4-BE49-F238E27FC236}">
                  <a16:creationId xmlns:a16="http://schemas.microsoft.com/office/drawing/2014/main" id="{744A2DE7-10E1-4F99-B048-70EE169979E7}"/>
                </a:ext>
              </a:extLst>
            </p:cNvPr>
            <p:cNvSpPr/>
            <p:nvPr/>
          </p:nvSpPr>
          <p:spPr>
            <a:xfrm>
              <a:off x="3033704" y="205770"/>
              <a:ext cx="238646" cy="243555"/>
            </a:xfrm>
            <a:custGeom>
              <a:avLst/>
              <a:gdLst/>
              <a:ahLst/>
              <a:cxnLst/>
              <a:rect l="l" t="t" r="r" b="b"/>
              <a:pathLst>
                <a:path w="277495" h="283204" extrusionOk="0">
                  <a:moveTo>
                    <a:pt x="208280" y="49133"/>
                  </a:moveTo>
                  <a:cubicBezTo>
                    <a:pt x="137795" y="91043"/>
                    <a:pt x="68580" y="136763"/>
                    <a:pt x="0" y="179943"/>
                  </a:cubicBezTo>
                  <a:cubicBezTo>
                    <a:pt x="8890" y="202168"/>
                    <a:pt x="26670" y="266938"/>
                    <a:pt x="57150" y="247888"/>
                  </a:cubicBezTo>
                  <a:cubicBezTo>
                    <a:pt x="130175" y="204708"/>
                    <a:pt x="208280" y="168513"/>
                    <a:pt x="277495" y="120888"/>
                  </a:cubicBezTo>
                  <a:cubicBezTo>
                    <a:pt x="258445" y="97393"/>
                    <a:pt x="247650" y="28178"/>
                    <a:pt x="208280" y="49133"/>
                  </a:cubicBezTo>
                  <a:close/>
                  <a:moveTo>
                    <a:pt x="46355" y="226933"/>
                  </a:moveTo>
                  <a:cubicBezTo>
                    <a:pt x="33655" y="218043"/>
                    <a:pt x="29210" y="206613"/>
                    <a:pt x="25400" y="192643"/>
                  </a:cubicBezTo>
                  <a:cubicBezTo>
                    <a:pt x="88265" y="150733"/>
                    <a:pt x="149225" y="105648"/>
                    <a:pt x="218440" y="71358"/>
                  </a:cubicBezTo>
                  <a:cubicBezTo>
                    <a:pt x="236220" y="75803"/>
                    <a:pt x="240030" y="91678"/>
                    <a:pt x="247015" y="107553"/>
                  </a:cubicBezTo>
                  <a:cubicBezTo>
                    <a:pt x="186055" y="158353"/>
                    <a:pt x="114300" y="189468"/>
                    <a:pt x="46355" y="226933"/>
                  </a:cubicBezTo>
                  <a:close/>
                  <a:moveTo>
                    <a:pt x="181610" y="200898"/>
                  </a:moveTo>
                  <a:cubicBezTo>
                    <a:pt x="130810" y="200898"/>
                    <a:pt x="120650" y="289798"/>
                    <a:pt x="181610" y="282813"/>
                  </a:cubicBezTo>
                  <a:cubicBezTo>
                    <a:pt x="240665" y="284083"/>
                    <a:pt x="243840" y="201533"/>
                    <a:pt x="181610" y="200898"/>
                  </a:cubicBezTo>
                  <a:close/>
                  <a:moveTo>
                    <a:pt x="163830" y="259318"/>
                  </a:moveTo>
                  <a:cubicBezTo>
                    <a:pt x="159385" y="227568"/>
                    <a:pt x="184785" y="232013"/>
                    <a:pt x="205105" y="234553"/>
                  </a:cubicBezTo>
                  <a:cubicBezTo>
                    <a:pt x="208280" y="258683"/>
                    <a:pt x="182245" y="268843"/>
                    <a:pt x="163830" y="259318"/>
                  </a:cubicBezTo>
                  <a:close/>
                  <a:moveTo>
                    <a:pt x="123190" y="32623"/>
                  </a:moveTo>
                  <a:cubicBezTo>
                    <a:pt x="104140" y="-16272"/>
                    <a:pt x="28575" y="-9922"/>
                    <a:pt x="29210" y="49768"/>
                  </a:cubicBezTo>
                  <a:cubicBezTo>
                    <a:pt x="38735" y="111998"/>
                    <a:pt x="126365" y="90408"/>
                    <a:pt x="123190" y="32623"/>
                  </a:cubicBezTo>
                  <a:close/>
                  <a:moveTo>
                    <a:pt x="81280" y="20558"/>
                  </a:moveTo>
                  <a:cubicBezTo>
                    <a:pt x="127635" y="19923"/>
                    <a:pt x="81915" y="87868"/>
                    <a:pt x="55880" y="63103"/>
                  </a:cubicBezTo>
                  <a:cubicBezTo>
                    <a:pt x="37465" y="47228"/>
                    <a:pt x="61595" y="16748"/>
                    <a:pt x="81280" y="20558"/>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5" name="Google Shape;88;p2">
              <a:extLst>
                <a:ext uri="{FF2B5EF4-FFF2-40B4-BE49-F238E27FC236}">
                  <a16:creationId xmlns:a16="http://schemas.microsoft.com/office/drawing/2014/main" id="{2AF5F280-BD3E-405D-BEF9-7EC951D2C3B2}"/>
                </a:ext>
              </a:extLst>
            </p:cNvPr>
            <p:cNvSpPr/>
            <p:nvPr/>
          </p:nvSpPr>
          <p:spPr>
            <a:xfrm>
              <a:off x="8737650" y="439219"/>
              <a:ext cx="257856" cy="284838"/>
            </a:xfrm>
            <a:custGeom>
              <a:avLst/>
              <a:gdLst/>
              <a:ahLst/>
              <a:cxnLst/>
              <a:rect l="l" t="t" r="r" b="b"/>
              <a:pathLst>
                <a:path w="299833" h="331207" extrusionOk="0">
                  <a:moveTo>
                    <a:pt x="209405" y="209687"/>
                  </a:moveTo>
                  <a:cubicBezTo>
                    <a:pt x="197340" y="292237"/>
                    <a:pt x="224645" y="334782"/>
                    <a:pt x="116695" y="330972"/>
                  </a:cubicBezTo>
                  <a:cubicBezTo>
                    <a:pt x="76690" y="318272"/>
                    <a:pt x="105900" y="251597"/>
                    <a:pt x="82405" y="221752"/>
                  </a:cubicBezTo>
                  <a:cubicBezTo>
                    <a:pt x="-9670" y="236992"/>
                    <a:pt x="-780" y="222387"/>
                    <a:pt x="1125" y="136662"/>
                  </a:cubicBezTo>
                  <a:cubicBezTo>
                    <a:pt x="15730" y="118882"/>
                    <a:pt x="46210" y="123327"/>
                    <a:pt x="67800" y="118247"/>
                  </a:cubicBezTo>
                  <a:cubicBezTo>
                    <a:pt x="113520" y="107452"/>
                    <a:pt x="65895" y="38872"/>
                    <a:pt x="89390" y="5852"/>
                  </a:cubicBezTo>
                  <a:cubicBezTo>
                    <a:pt x="202420" y="-15103"/>
                    <a:pt x="175750" y="20457"/>
                    <a:pt x="194165" y="108722"/>
                  </a:cubicBezTo>
                  <a:cubicBezTo>
                    <a:pt x="225280" y="118247"/>
                    <a:pt x="286240" y="96022"/>
                    <a:pt x="293225" y="135392"/>
                  </a:cubicBezTo>
                  <a:cubicBezTo>
                    <a:pt x="318625" y="214767"/>
                    <a:pt x="266555" y="199527"/>
                    <a:pt x="209405" y="209687"/>
                  </a:cubicBezTo>
                  <a:close/>
                  <a:moveTo>
                    <a:pt x="27795" y="202067"/>
                  </a:moveTo>
                  <a:cubicBezTo>
                    <a:pt x="155430" y="169682"/>
                    <a:pt x="92565" y="223657"/>
                    <a:pt x="125585" y="302397"/>
                  </a:cubicBezTo>
                  <a:cubicBezTo>
                    <a:pt x="140190" y="304302"/>
                    <a:pt x="156065" y="306842"/>
                    <a:pt x="171305" y="301127"/>
                  </a:cubicBezTo>
                  <a:cubicBezTo>
                    <a:pt x="195435" y="266202"/>
                    <a:pt x="166860" y="221752"/>
                    <a:pt x="189720" y="188097"/>
                  </a:cubicBezTo>
                  <a:cubicBezTo>
                    <a:pt x="215755" y="184287"/>
                    <a:pt x="243695" y="179842"/>
                    <a:pt x="271635" y="175397"/>
                  </a:cubicBezTo>
                  <a:cubicBezTo>
                    <a:pt x="276715" y="160792"/>
                    <a:pt x="276715" y="149362"/>
                    <a:pt x="267825" y="137932"/>
                  </a:cubicBezTo>
                  <a:cubicBezTo>
                    <a:pt x="176385" y="125867"/>
                    <a:pt x="163050" y="146187"/>
                    <a:pt x="160510" y="40142"/>
                  </a:cubicBezTo>
                  <a:cubicBezTo>
                    <a:pt x="158605" y="17917"/>
                    <a:pt x="136380" y="21092"/>
                    <a:pt x="120505" y="26172"/>
                  </a:cubicBezTo>
                  <a:cubicBezTo>
                    <a:pt x="85580" y="45857"/>
                    <a:pt x="120505" y="101737"/>
                    <a:pt x="108440" y="134757"/>
                  </a:cubicBezTo>
                  <a:cubicBezTo>
                    <a:pt x="77325" y="141742"/>
                    <a:pt x="53195" y="136662"/>
                    <a:pt x="23350" y="153172"/>
                  </a:cubicBezTo>
                  <a:cubicBezTo>
                    <a:pt x="23350" y="172857"/>
                    <a:pt x="23350" y="182382"/>
                    <a:pt x="27795" y="20206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6" name="Google Shape;89;p2">
              <a:extLst>
                <a:ext uri="{FF2B5EF4-FFF2-40B4-BE49-F238E27FC236}">
                  <a16:creationId xmlns:a16="http://schemas.microsoft.com/office/drawing/2014/main" id="{CD802E64-9278-42FB-B79A-4AC869E37036}"/>
                </a:ext>
              </a:extLst>
            </p:cNvPr>
            <p:cNvSpPr/>
            <p:nvPr/>
          </p:nvSpPr>
          <p:spPr>
            <a:xfrm>
              <a:off x="1334256" y="207258"/>
              <a:ext cx="223503" cy="240600"/>
            </a:xfrm>
            <a:custGeom>
              <a:avLst/>
              <a:gdLst/>
              <a:ahLst/>
              <a:cxnLst/>
              <a:rect l="l" t="t" r="r" b="b"/>
              <a:pathLst>
                <a:path w="259887" h="279767" extrusionOk="0">
                  <a:moveTo>
                    <a:pt x="226736" y="166830"/>
                  </a:moveTo>
                  <a:cubicBezTo>
                    <a:pt x="228641" y="137620"/>
                    <a:pt x="231180" y="110950"/>
                    <a:pt x="233086" y="83010"/>
                  </a:cubicBezTo>
                  <a:cubicBezTo>
                    <a:pt x="187366" y="68405"/>
                    <a:pt x="153711" y="96345"/>
                    <a:pt x="111166" y="110315"/>
                  </a:cubicBezTo>
                  <a:cubicBezTo>
                    <a:pt x="97195" y="152860"/>
                    <a:pt x="133391" y="210010"/>
                    <a:pt x="90211" y="242395"/>
                  </a:cubicBezTo>
                  <a:cubicBezTo>
                    <a:pt x="-25359" y="349710"/>
                    <a:pt x="-34250" y="191595"/>
                    <a:pt x="88941" y="193500"/>
                  </a:cubicBezTo>
                  <a:cubicBezTo>
                    <a:pt x="97195" y="143970"/>
                    <a:pt x="63541" y="67135"/>
                    <a:pt x="101005" y="31575"/>
                  </a:cubicBezTo>
                  <a:cubicBezTo>
                    <a:pt x="208320" y="6175"/>
                    <a:pt x="274995" y="-51610"/>
                    <a:pt x="252770" y="105870"/>
                  </a:cubicBezTo>
                  <a:cubicBezTo>
                    <a:pt x="241975" y="140160"/>
                    <a:pt x="264200" y="170005"/>
                    <a:pt x="259120" y="201120"/>
                  </a:cubicBezTo>
                  <a:cubicBezTo>
                    <a:pt x="198161" y="328120"/>
                    <a:pt x="109261" y="242395"/>
                    <a:pt x="226736" y="166830"/>
                  </a:cubicBezTo>
                  <a:close/>
                  <a:moveTo>
                    <a:pt x="115611" y="79835"/>
                  </a:moveTo>
                  <a:cubicBezTo>
                    <a:pt x="146091" y="80470"/>
                    <a:pt x="172125" y="56975"/>
                    <a:pt x="203875" y="58245"/>
                  </a:cubicBezTo>
                  <a:cubicBezTo>
                    <a:pt x="229275" y="60150"/>
                    <a:pt x="238800" y="46180"/>
                    <a:pt x="229911" y="22050"/>
                  </a:cubicBezTo>
                  <a:cubicBezTo>
                    <a:pt x="198161" y="38560"/>
                    <a:pt x="97195" y="29035"/>
                    <a:pt x="115611" y="7983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7" name="Google Shape;90;p2">
              <a:extLst>
                <a:ext uri="{FF2B5EF4-FFF2-40B4-BE49-F238E27FC236}">
                  <a16:creationId xmlns:a16="http://schemas.microsoft.com/office/drawing/2014/main" id="{5F0111DC-8D76-4C1A-8432-67D8400F8F34}"/>
                </a:ext>
              </a:extLst>
            </p:cNvPr>
            <p:cNvSpPr/>
            <p:nvPr/>
          </p:nvSpPr>
          <p:spPr>
            <a:xfrm>
              <a:off x="7053257" y="3763614"/>
              <a:ext cx="204383" cy="278916"/>
            </a:xfrm>
            <a:custGeom>
              <a:avLst/>
              <a:gdLst/>
              <a:ahLst/>
              <a:cxnLst/>
              <a:rect l="l" t="t" r="r" b="b"/>
              <a:pathLst>
                <a:path w="237655" h="324321" extrusionOk="0">
                  <a:moveTo>
                    <a:pt x="103670" y="224422"/>
                  </a:moveTo>
                  <a:cubicBezTo>
                    <a:pt x="118910" y="164097"/>
                    <a:pt x="80810" y="37097"/>
                    <a:pt x="129070" y="1537"/>
                  </a:cubicBezTo>
                  <a:cubicBezTo>
                    <a:pt x="197650" y="-13703"/>
                    <a:pt x="200190" y="88532"/>
                    <a:pt x="237655" y="124092"/>
                  </a:cubicBezTo>
                  <a:cubicBezTo>
                    <a:pt x="219875" y="178702"/>
                    <a:pt x="165900" y="59957"/>
                    <a:pt x="132245" y="71387"/>
                  </a:cubicBezTo>
                  <a:cubicBezTo>
                    <a:pt x="115735" y="135522"/>
                    <a:pt x="151930" y="215532"/>
                    <a:pt x="110655" y="271412"/>
                  </a:cubicBezTo>
                  <a:cubicBezTo>
                    <a:pt x="-25235" y="413017"/>
                    <a:pt x="-45555" y="225692"/>
                    <a:pt x="103670" y="224422"/>
                  </a:cubicBezTo>
                  <a:close/>
                  <a:moveTo>
                    <a:pt x="176060" y="65672"/>
                  </a:moveTo>
                  <a:cubicBezTo>
                    <a:pt x="170980" y="47892"/>
                    <a:pt x="167170" y="29477"/>
                    <a:pt x="146850" y="25032"/>
                  </a:cubicBezTo>
                  <a:cubicBezTo>
                    <a:pt x="136690" y="33922"/>
                    <a:pt x="136690" y="33922"/>
                    <a:pt x="134785" y="44082"/>
                  </a:cubicBezTo>
                  <a:cubicBezTo>
                    <a:pt x="148755" y="51067"/>
                    <a:pt x="162090" y="58687"/>
                    <a:pt x="176060" y="65672"/>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8" name="Google Shape;91;p2">
              <a:extLst>
                <a:ext uri="{FF2B5EF4-FFF2-40B4-BE49-F238E27FC236}">
                  <a16:creationId xmlns:a16="http://schemas.microsoft.com/office/drawing/2014/main" id="{04D85F76-A436-4F44-A271-5812B6E37004}"/>
                </a:ext>
              </a:extLst>
            </p:cNvPr>
            <p:cNvSpPr/>
            <p:nvPr/>
          </p:nvSpPr>
          <p:spPr>
            <a:xfrm>
              <a:off x="711508" y="3001159"/>
              <a:ext cx="154433" cy="272786"/>
            </a:xfrm>
            <a:custGeom>
              <a:avLst/>
              <a:gdLst/>
              <a:ahLst/>
              <a:cxnLst/>
              <a:rect l="l" t="t" r="r" b="b"/>
              <a:pathLst>
                <a:path w="179573" h="317193" extrusionOk="0">
                  <a:moveTo>
                    <a:pt x="48300" y="7056"/>
                  </a:moveTo>
                  <a:cubicBezTo>
                    <a:pt x="85130" y="8961"/>
                    <a:pt x="155616" y="-21519"/>
                    <a:pt x="159425" y="31186"/>
                  </a:cubicBezTo>
                  <a:cubicBezTo>
                    <a:pt x="167680" y="121356"/>
                    <a:pt x="186096" y="212796"/>
                    <a:pt x="177205" y="302966"/>
                  </a:cubicBezTo>
                  <a:cubicBezTo>
                    <a:pt x="142280" y="316301"/>
                    <a:pt x="114975" y="320111"/>
                    <a:pt x="85766" y="315031"/>
                  </a:cubicBezTo>
                  <a:cubicBezTo>
                    <a:pt x="69255" y="264231"/>
                    <a:pt x="90211" y="208351"/>
                    <a:pt x="78780" y="154376"/>
                  </a:cubicBezTo>
                  <a:cubicBezTo>
                    <a:pt x="-62189" y="192476"/>
                    <a:pt x="24171" y="74366"/>
                    <a:pt x="48300" y="7056"/>
                  </a:cubicBezTo>
                  <a:close/>
                  <a:moveTo>
                    <a:pt x="109261" y="290901"/>
                  </a:moveTo>
                  <a:cubicBezTo>
                    <a:pt x="134025" y="291536"/>
                    <a:pt x="134025" y="291536"/>
                    <a:pt x="154346" y="278836"/>
                  </a:cubicBezTo>
                  <a:cubicBezTo>
                    <a:pt x="153075" y="219781"/>
                    <a:pt x="167680" y="54046"/>
                    <a:pt x="118786" y="24201"/>
                  </a:cubicBezTo>
                  <a:cubicBezTo>
                    <a:pt x="53380" y="10231"/>
                    <a:pt x="40046" y="82621"/>
                    <a:pt x="20996" y="128976"/>
                  </a:cubicBezTo>
                  <a:cubicBezTo>
                    <a:pt x="48936" y="149931"/>
                    <a:pt x="55921" y="133421"/>
                    <a:pt x="69891" y="115641"/>
                  </a:cubicBezTo>
                  <a:cubicBezTo>
                    <a:pt x="135296" y="72461"/>
                    <a:pt x="83861" y="261691"/>
                    <a:pt x="109261" y="290901"/>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59" name="Google Shape;92;p2">
              <a:extLst>
                <a:ext uri="{FF2B5EF4-FFF2-40B4-BE49-F238E27FC236}">
                  <a16:creationId xmlns:a16="http://schemas.microsoft.com/office/drawing/2014/main" id="{1BD1C5A8-F98B-423D-96AC-88AEC1AE8FAD}"/>
                </a:ext>
              </a:extLst>
            </p:cNvPr>
            <p:cNvSpPr/>
            <p:nvPr/>
          </p:nvSpPr>
          <p:spPr>
            <a:xfrm>
              <a:off x="8576875" y="2558027"/>
              <a:ext cx="223822" cy="307981"/>
            </a:xfrm>
            <a:custGeom>
              <a:avLst/>
              <a:gdLst/>
              <a:ahLst/>
              <a:cxnLst/>
              <a:rect l="l" t="t" r="r" b="b"/>
              <a:pathLst>
                <a:path w="283319" h="389850" extrusionOk="0">
                  <a:moveTo>
                    <a:pt x="215764" y="169337"/>
                  </a:moveTo>
                  <a:cubicBezTo>
                    <a:pt x="302124" y="27097"/>
                    <a:pt x="90669" y="-68153"/>
                    <a:pt x="11294" y="60752"/>
                  </a:cubicBezTo>
                  <a:cubicBezTo>
                    <a:pt x="-7756" y="89962"/>
                    <a:pt x="-3946" y="100757"/>
                    <a:pt x="32249" y="114092"/>
                  </a:cubicBezTo>
                  <a:cubicBezTo>
                    <a:pt x="71619" y="115997"/>
                    <a:pt x="97019" y="51862"/>
                    <a:pt x="145279" y="76627"/>
                  </a:cubicBezTo>
                  <a:cubicBezTo>
                    <a:pt x="215764" y="123617"/>
                    <a:pt x="108449" y="154732"/>
                    <a:pt x="109719" y="185212"/>
                  </a:cubicBezTo>
                  <a:cubicBezTo>
                    <a:pt x="111624" y="209342"/>
                    <a:pt x="220844" y="209977"/>
                    <a:pt x="165599" y="293162"/>
                  </a:cubicBezTo>
                  <a:cubicBezTo>
                    <a:pt x="115434" y="342057"/>
                    <a:pt x="90669" y="265222"/>
                    <a:pt x="53204" y="286812"/>
                  </a:cubicBezTo>
                  <a:cubicBezTo>
                    <a:pt x="41774" y="293797"/>
                    <a:pt x="19549" y="293162"/>
                    <a:pt x="19549" y="310942"/>
                  </a:cubicBezTo>
                  <a:cubicBezTo>
                    <a:pt x="44949" y="470962"/>
                    <a:pt x="437379" y="369362"/>
                    <a:pt x="215764" y="169337"/>
                  </a:cubicBezTo>
                  <a:close/>
                  <a:moveTo>
                    <a:pt x="255769" y="311577"/>
                  </a:moveTo>
                  <a:cubicBezTo>
                    <a:pt x="230369" y="375712"/>
                    <a:pt x="58919" y="393492"/>
                    <a:pt x="43679" y="321102"/>
                  </a:cubicBezTo>
                  <a:cubicBezTo>
                    <a:pt x="53204" y="313482"/>
                    <a:pt x="60189" y="310942"/>
                    <a:pt x="70984" y="308402"/>
                  </a:cubicBezTo>
                  <a:cubicBezTo>
                    <a:pt x="145914" y="381427"/>
                    <a:pt x="251959" y="274112"/>
                    <a:pt x="178299" y="199817"/>
                  </a:cubicBezTo>
                  <a:cubicBezTo>
                    <a:pt x="157344" y="184577"/>
                    <a:pt x="144644" y="190927"/>
                    <a:pt x="171314" y="159812"/>
                  </a:cubicBezTo>
                  <a:cubicBezTo>
                    <a:pt x="239259" y="61387"/>
                    <a:pt x="99559" y="5507"/>
                    <a:pt x="35424" y="93772"/>
                  </a:cubicBezTo>
                  <a:cubicBezTo>
                    <a:pt x="-5851" y="29002"/>
                    <a:pt x="261484" y="-44023"/>
                    <a:pt x="204334" y="148382"/>
                  </a:cubicBezTo>
                  <a:cubicBezTo>
                    <a:pt x="201159" y="161082"/>
                    <a:pt x="201159" y="165527"/>
                    <a:pt x="188459" y="178227"/>
                  </a:cubicBezTo>
                  <a:cubicBezTo>
                    <a:pt x="227829" y="190292"/>
                    <a:pt x="275454" y="281097"/>
                    <a:pt x="255769" y="311577"/>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0" name="Google Shape;93;p2">
              <a:extLst>
                <a:ext uri="{FF2B5EF4-FFF2-40B4-BE49-F238E27FC236}">
                  <a16:creationId xmlns:a16="http://schemas.microsoft.com/office/drawing/2014/main" id="{D358510C-7FE3-4EC0-A6FC-0C87AEC9D1BC}"/>
                </a:ext>
              </a:extLst>
            </p:cNvPr>
            <p:cNvSpPr/>
            <p:nvPr/>
          </p:nvSpPr>
          <p:spPr>
            <a:xfrm>
              <a:off x="140852" y="836409"/>
              <a:ext cx="224053" cy="290283"/>
            </a:xfrm>
            <a:custGeom>
              <a:avLst/>
              <a:gdLst/>
              <a:ahLst/>
              <a:cxnLst/>
              <a:rect l="l" t="t" r="r" b="b"/>
              <a:pathLst>
                <a:path w="260527" h="337538" extrusionOk="0">
                  <a:moveTo>
                    <a:pt x="70965" y="150214"/>
                  </a:moveTo>
                  <a:cubicBezTo>
                    <a:pt x="-31905" y="199744"/>
                    <a:pt x="-8410" y="53058"/>
                    <a:pt x="50010" y="19403"/>
                  </a:cubicBezTo>
                  <a:cubicBezTo>
                    <a:pt x="99540" y="-21237"/>
                    <a:pt x="175740" y="6703"/>
                    <a:pt x="204315" y="59408"/>
                  </a:cubicBezTo>
                  <a:cubicBezTo>
                    <a:pt x="234160" y="115923"/>
                    <a:pt x="183360" y="176248"/>
                    <a:pt x="162405" y="228953"/>
                  </a:cubicBezTo>
                  <a:cubicBezTo>
                    <a:pt x="222730" y="254353"/>
                    <a:pt x="280515" y="204189"/>
                    <a:pt x="253845" y="309598"/>
                  </a:cubicBezTo>
                  <a:cubicBezTo>
                    <a:pt x="202410" y="340078"/>
                    <a:pt x="118590" y="320394"/>
                    <a:pt x="56360" y="337539"/>
                  </a:cubicBezTo>
                  <a:cubicBezTo>
                    <a:pt x="-5235" y="325473"/>
                    <a:pt x="102715" y="185139"/>
                    <a:pt x="110970" y="145133"/>
                  </a:cubicBezTo>
                  <a:cubicBezTo>
                    <a:pt x="160500" y="75919"/>
                    <a:pt x="55725" y="82269"/>
                    <a:pt x="70965" y="150214"/>
                  </a:cubicBezTo>
                  <a:close/>
                  <a:moveTo>
                    <a:pt x="123670" y="254353"/>
                  </a:moveTo>
                  <a:cubicBezTo>
                    <a:pt x="140180" y="194664"/>
                    <a:pt x="211935" y="137514"/>
                    <a:pt x="182725" y="75283"/>
                  </a:cubicBezTo>
                  <a:cubicBezTo>
                    <a:pt x="171930" y="39088"/>
                    <a:pt x="127480" y="13053"/>
                    <a:pt x="92555" y="25119"/>
                  </a:cubicBezTo>
                  <a:cubicBezTo>
                    <a:pt x="36040" y="25119"/>
                    <a:pt x="-10315" y="170533"/>
                    <a:pt x="46200" y="130528"/>
                  </a:cubicBezTo>
                  <a:cubicBezTo>
                    <a:pt x="49375" y="47978"/>
                    <a:pt x="174470" y="60678"/>
                    <a:pt x="140180" y="141958"/>
                  </a:cubicBezTo>
                  <a:cubicBezTo>
                    <a:pt x="119225" y="196569"/>
                    <a:pt x="72870" y="253083"/>
                    <a:pt x="69060" y="309598"/>
                  </a:cubicBezTo>
                  <a:cubicBezTo>
                    <a:pt x="109065" y="316583"/>
                    <a:pt x="193520" y="307694"/>
                    <a:pt x="232890" y="291183"/>
                  </a:cubicBezTo>
                  <a:cubicBezTo>
                    <a:pt x="234795" y="282928"/>
                    <a:pt x="236700" y="274039"/>
                    <a:pt x="238605" y="264514"/>
                  </a:cubicBezTo>
                  <a:cubicBezTo>
                    <a:pt x="197330" y="251178"/>
                    <a:pt x="166215" y="267689"/>
                    <a:pt x="123670" y="2543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1" name="Google Shape;94;p2">
              <a:extLst>
                <a:ext uri="{FF2B5EF4-FFF2-40B4-BE49-F238E27FC236}">
                  <a16:creationId xmlns:a16="http://schemas.microsoft.com/office/drawing/2014/main" id="{9062A484-71B7-4182-B701-AF300989DB6F}"/>
                </a:ext>
              </a:extLst>
            </p:cNvPr>
            <p:cNvGrpSpPr/>
            <p:nvPr/>
          </p:nvGrpSpPr>
          <p:grpSpPr>
            <a:xfrm>
              <a:off x="6457245" y="4530131"/>
              <a:ext cx="216066" cy="276377"/>
              <a:chOff x="6422295" y="3351500"/>
              <a:chExt cx="252856" cy="323399"/>
            </a:xfrm>
          </p:grpSpPr>
          <p:sp>
            <p:nvSpPr>
              <p:cNvPr id="74" name="Google Shape;95;p2">
                <a:extLst>
                  <a:ext uri="{FF2B5EF4-FFF2-40B4-BE49-F238E27FC236}">
                    <a16:creationId xmlns:a16="http://schemas.microsoft.com/office/drawing/2014/main" id="{D5B2D0E3-2414-483A-A92C-B41C7C2F4383}"/>
                  </a:ext>
                </a:extLst>
              </p:cNvPr>
              <p:cNvSpPr/>
              <p:nvPr/>
            </p:nvSpPr>
            <p:spPr>
              <a:xfrm>
                <a:off x="6422295" y="3351500"/>
                <a:ext cx="252856" cy="323399"/>
              </a:xfrm>
              <a:custGeom>
                <a:avLst/>
                <a:gdLst/>
                <a:ahLst/>
                <a:cxnLst/>
                <a:rect l="l" t="t" r="r" b="b"/>
                <a:pathLst>
                  <a:path w="294019" h="376045" extrusionOk="0">
                    <a:moveTo>
                      <a:pt x="172720" y="274801"/>
                    </a:moveTo>
                    <a:cubicBezTo>
                      <a:pt x="154940" y="268451"/>
                      <a:pt x="140970" y="274801"/>
                      <a:pt x="126365" y="278611"/>
                    </a:cubicBezTo>
                    <a:cubicBezTo>
                      <a:pt x="109855" y="304011"/>
                      <a:pt x="109220" y="334491"/>
                      <a:pt x="99695" y="364336"/>
                    </a:cubicBezTo>
                    <a:cubicBezTo>
                      <a:pt x="71755" y="359256"/>
                      <a:pt x="0" y="392911"/>
                      <a:pt x="0" y="352906"/>
                    </a:cubicBezTo>
                    <a:cubicBezTo>
                      <a:pt x="38100" y="239241"/>
                      <a:pt x="70485" y="123671"/>
                      <a:pt x="102235" y="8101"/>
                    </a:cubicBezTo>
                    <a:cubicBezTo>
                      <a:pt x="248920" y="-26189"/>
                      <a:pt x="236855" y="52551"/>
                      <a:pt x="264160" y="165581"/>
                    </a:cubicBezTo>
                    <a:cubicBezTo>
                      <a:pt x="262255" y="201776"/>
                      <a:pt x="322580" y="359256"/>
                      <a:pt x="276860" y="358621"/>
                    </a:cubicBezTo>
                    <a:cubicBezTo>
                      <a:pt x="153670" y="357986"/>
                      <a:pt x="184150" y="433551"/>
                      <a:pt x="172720" y="274801"/>
                    </a:cubicBezTo>
                    <a:close/>
                    <a:moveTo>
                      <a:pt x="266700" y="331316"/>
                    </a:moveTo>
                    <a:cubicBezTo>
                      <a:pt x="262255" y="229081"/>
                      <a:pt x="236220" y="119861"/>
                      <a:pt x="201295" y="23341"/>
                    </a:cubicBezTo>
                    <a:cubicBezTo>
                      <a:pt x="175895" y="22071"/>
                      <a:pt x="129540" y="8736"/>
                      <a:pt x="120015" y="41121"/>
                    </a:cubicBezTo>
                    <a:cubicBezTo>
                      <a:pt x="86995" y="139546"/>
                      <a:pt x="53975" y="239876"/>
                      <a:pt x="33655" y="341476"/>
                    </a:cubicBezTo>
                    <a:cubicBezTo>
                      <a:pt x="90805" y="367511"/>
                      <a:pt x="90805" y="291946"/>
                      <a:pt x="106680" y="256386"/>
                    </a:cubicBezTo>
                    <a:cubicBezTo>
                      <a:pt x="290195" y="214476"/>
                      <a:pt x="113665" y="389736"/>
                      <a:pt x="266700" y="33131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5" name="Google Shape;96;p2">
                <a:extLst>
                  <a:ext uri="{FF2B5EF4-FFF2-40B4-BE49-F238E27FC236}">
                    <a16:creationId xmlns:a16="http://schemas.microsoft.com/office/drawing/2014/main" id="{4B02C55D-41F4-4253-8C65-32414270B842}"/>
                  </a:ext>
                </a:extLst>
              </p:cNvPr>
              <p:cNvSpPr/>
              <p:nvPr/>
            </p:nvSpPr>
            <p:spPr>
              <a:xfrm>
                <a:off x="6523827" y="3405472"/>
                <a:ext cx="67661" cy="140626"/>
              </a:xfrm>
              <a:custGeom>
                <a:avLst/>
                <a:gdLst/>
                <a:ahLst/>
                <a:cxnLst/>
                <a:rect l="l" t="t" r="r" b="b"/>
                <a:pathLst>
                  <a:path w="78676" h="163519" extrusionOk="0">
                    <a:moveTo>
                      <a:pt x="47759" y="0"/>
                    </a:moveTo>
                    <a:cubicBezTo>
                      <a:pt x="77604" y="36830"/>
                      <a:pt x="59824" y="93345"/>
                      <a:pt x="76969" y="137160"/>
                    </a:cubicBezTo>
                    <a:cubicBezTo>
                      <a:pt x="82049" y="150495"/>
                      <a:pt x="75699" y="170180"/>
                      <a:pt x="59189" y="161290"/>
                    </a:cubicBezTo>
                    <a:cubicBezTo>
                      <a:pt x="38869" y="149860"/>
                      <a:pt x="-8756" y="165735"/>
                      <a:pt x="1404" y="127635"/>
                    </a:cubicBezTo>
                    <a:cubicBezTo>
                      <a:pt x="15374" y="83820"/>
                      <a:pt x="14104" y="35560"/>
                      <a:pt x="47759" y="0"/>
                    </a:cubicBezTo>
                    <a:close/>
                    <a:moveTo>
                      <a:pt x="25534" y="130810"/>
                    </a:moveTo>
                    <a:cubicBezTo>
                      <a:pt x="68714" y="151130"/>
                      <a:pt x="47124" y="101600"/>
                      <a:pt x="44584" y="77470"/>
                    </a:cubicBezTo>
                    <a:cubicBezTo>
                      <a:pt x="31249" y="97155"/>
                      <a:pt x="26804" y="113665"/>
                      <a:pt x="25534" y="13081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grpSp>
          <p:nvGrpSpPr>
            <p:cNvPr id="62" name="Google Shape;97;p2">
              <a:extLst>
                <a:ext uri="{FF2B5EF4-FFF2-40B4-BE49-F238E27FC236}">
                  <a16:creationId xmlns:a16="http://schemas.microsoft.com/office/drawing/2014/main" id="{4B42BFA4-94A2-47FB-884C-087EEABE659B}"/>
                </a:ext>
              </a:extLst>
            </p:cNvPr>
            <p:cNvGrpSpPr/>
            <p:nvPr/>
          </p:nvGrpSpPr>
          <p:grpSpPr>
            <a:xfrm>
              <a:off x="2318449" y="604142"/>
              <a:ext cx="332332" cy="346582"/>
              <a:chOff x="2318449" y="604142"/>
              <a:chExt cx="332332" cy="346582"/>
            </a:xfrm>
          </p:grpSpPr>
          <p:sp>
            <p:nvSpPr>
              <p:cNvPr id="72" name="Google Shape;98;p2">
                <a:extLst>
                  <a:ext uri="{FF2B5EF4-FFF2-40B4-BE49-F238E27FC236}">
                    <a16:creationId xmlns:a16="http://schemas.microsoft.com/office/drawing/2014/main" id="{45BFEA4F-7187-48C0-BE71-F050BBD1D2AC}"/>
                  </a:ext>
                </a:extLst>
              </p:cNvPr>
              <p:cNvSpPr/>
              <p:nvPr/>
            </p:nvSpPr>
            <p:spPr>
              <a:xfrm>
                <a:off x="2361884" y="604142"/>
                <a:ext cx="288826" cy="292506"/>
              </a:xfrm>
              <a:custGeom>
                <a:avLst/>
                <a:gdLst/>
                <a:ahLst/>
                <a:cxnLst/>
                <a:rect l="l" t="t" r="r" b="b"/>
                <a:pathLst>
                  <a:path w="23544" h="23844" extrusionOk="0">
                    <a:moveTo>
                      <a:pt x="12429" y="1"/>
                    </a:moveTo>
                    <a:lnTo>
                      <a:pt x="11234" y="120"/>
                    </a:lnTo>
                    <a:lnTo>
                      <a:pt x="10099" y="359"/>
                    </a:lnTo>
                    <a:lnTo>
                      <a:pt x="9023" y="718"/>
                    </a:lnTo>
                    <a:lnTo>
                      <a:pt x="7948" y="1136"/>
                    </a:lnTo>
                    <a:lnTo>
                      <a:pt x="6872" y="1614"/>
                    </a:lnTo>
                    <a:lnTo>
                      <a:pt x="5856" y="2212"/>
                    </a:lnTo>
                    <a:lnTo>
                      <a:pt x="4960" y="2869"/>
                    </a:lnTo>
                    <a:lnTo>
                      <a:pt x="4064" y="3586"/>
                    </a:lnTo>
                    <a:lnTo>
                      <a:pt x="3227" y="4363"/>
                    </a:lnTo>
                    <a:lnTo>
                      <a:pt x="2510" y="5259"/>
                    </a:lnTo>
                    <a:lnTo>
                      <a:pt x="1853" y="6156"/>
                    </a:lnTo>
                    <a:lnTo>
                      <a:pt x="1255" y="7112"/>
                    </a:lnTo>
                    <a:lnTo>
                      <a:pt x="777" y="8128"/>
                    </a:lnTo>
                    <a:lnTo>
                      <a:pt x="418" y="9203"/>
                    </a:lnTo>
                    <a:lnTo>
                      <a:pt x="179" y="10279"/>
                    </a:lnTo>
                    <a:lnTo>
                      <a:pt x="0" y="11414"/>
                    </a:lnTo>
                    <a:lnTo>
                      <a:pt x="0" y="12609"/>
                    </a:lnTo>
                    <a:lnTo>
                      <a:pt x="179" y="13804"/>
                    </a:lnTo>
                    <a:lnTo>
                      <a:pt x="418" y="14999"/>
                    </a:lnTo>
                    <a:lnTo>
                      <a:pt x="777" y="16075"/>
                    </a:lnTo>
                    <a:lnTo>
                      <a:pt x="1315" y="17151"/>
                    </a:lnTo>
                    <a:lnTo>
                      <a:pt x="1912" y="18166"/>
                    </a:lnTo>
                    <a:lnTo>
                      <a:pt x="2570" y="19063"/>
                    </a:lnTo>
                    <a:lnTo>
                      <a:pt x="3346" y="19959"/>
                    </a:lnTo>
                    <a:lnTo>
                      <a:pt x="4243" y="20736"/>
                    </a:lnTo>
                    <a:lnTo>
                      <a:pt x="5139" y="21453"/>
                    </a:lnTo>
                    <a:lnTo>
                      <a:pt x="6155" y="22110"/>
                    </a:lnTo>
                    <a:lnTo>
                      <a:pt x="7171" y="22648"/>
                    </a:lnTo>
                    <a:lnTo>
                      <a:pt x="8306" y="23066"/>
                    </a:lnTo>
                    <a:lnTo>
                      <a:pt x="9382" y="23425"/>
                    </a:lnTo>
                    <a:lnTo>
                      <a:pt x="10517" y="23664"/>
                    </a:lnTo>
                    <a:lnTo>
                      <a:pt x="11712" y="23783"/>
                    </a:lnTo>
                    <a:lnTo>
                      <a:pt x="12848" y="23843"/>
                    </a:lnTo>
                    <a:lnTo>
                      <a:pt x="14043" y="23724"/>
                    </a:lnTo>
                    <a:lnTo>
                      <a:pt x="15238" y="23485"/>
                    </a:lnTo>
                    <a:lnTo>
                      <a:pt x="16373" y="23066"/>
                    </a:lnTo>
                    <a:lnTo>
                      <a:pt x="17449" y="22588"/>
                    </a:lnTo>
                    <a:lnTo>
                      <a:pt x="18465" y="21991"/>
                    </a:lnTo>
                    <a:lnTo>
                      <a:pt x="19421" y="21274"/>
                    </a:lnTo>
                    <a:lnTo>
                      <a:pt x="20317" y="20497"/>
                    </a:lnTo>
                    <a:lnTo>
                      <a:pt x="21094" y="19660"/>
                    </a:lnTo>
                    <a:lnTo>
                      <a:pt x="21751" y="18704"/>
                    </a:lnTo>
                    <a:lnTo>
                      <a:pt x="22349" y="17688"/>
                    </a:lnTo>
                    <a:lnTo>
                      <a:pt x="22827" y="16673"/>
                    </a:lnTo>
                    <a:lnTo>
                      <a:pt x="23185" y="15537"/>
                    </a:lnTo>
                    <a:lnTo>
                      <a:pt x="23424" y="14402"/>
                    </a:lnTo>
                    <a:lnTo>
                      <a:pt x="23544" y="13207"/>
                    </a:lnTo>
                    <a:lnTo>
                      <a:pt x="23544" y="12071"/>
                    </a:lnTo>
                    <a:lnTo>
                      <a:pt x="23484" y="11474"/>
                    </a:lnTo>
                    <a:lnTo>
                      <a:pt x="23364" y="10876"/>
                    </a:lnTo>
                    <a:lnTo>
                      <a:pt x="23185" y="10279"/>
                    </a:lnTo>
                    <a:lnTo>
                      <a:pt x="23006" y="9681"/>
                    </a:lnTo>
                    <a:lnTo>
                      <a:pt x="23006" y="9024"/>
                    </a:lnTo>
                    <a:lnTo>
                      <a:pt x="22946" y="8426"/>
                    </a:lnTo>
                    <a:lnTo>
                      <a:pt x="22827" y="7889"/>
                    </a:lnTo>
                    <a:lnTo>
                      <a:pt x="22707" y="7291"/>
                    </a:lnTo>
                    <a:lnTo>
                      <a:pt x="22528" y="6753"/>
                    </a:lnTo>
                    <a:lnTo>
                      <a:pt x="22349" y="6215"/>
                    </a:lnTo>
                    <a:lnTo>
                      <a:pt x="21811" y="5200"/>
                    </a:lnTo>
                    <a:lnTo>
                      <a:pt x="21213" y="4243"/>
                    </a:lnTo>
                    <a:lnTo>
                      <a:pt x="20496" y="3407"/>
                    </a:lnTo>
                    <a:lnTo>
                      <a:pt x="19719" y="2630"/>
                    </a:lnTo>
                    <a:lnTo>
                      <a:pt x="18823" y="1973"/>
                    </a:lnTo>
                    <a:lnTo>
                      <a:pt x="17867" y="1375"/>
                    </a:lnTo>
                    <a:lnTo>
                      <a:pt x="16851" y="837"/>
                    </a:lnTo>
                    <a:lnTo>
                      <a:pt x="15776" y="479"/>
                    </a:lnTo>
                    <a:lnTo>
                      <a:pt x="14700" y="180"/>
                    </a:lnTo>
                    <a:lnTo>
                      <a:pt x="13565" y="61"/>
                    </a:lnTo>
                    <a:lnTo>
                      <a:pt x="12429" y="1"/>
                    </a:lnTo>
                    <a:close/>
                  </a:path>
                </a:pathLst>
              </a:custGeom>
              <a:solidFill>
                <a:schemeClr val="accent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lang="da-DK"/>
              </a:p>
            </p:txBody>
          </p:sp>
          <p:sp>
            <p:nvSpPr>
              <p:cNvPr id="73" name="Google Shape;99;p2">
                <a:extLst>
                  <a:ext uri="{FF2B5EF4-FFF2-40B4-BE49-F238E27FC236}">
                    <a16:creationId xmlns:a16="http://schemas.microsoft.com/office/drawing/2014/main" id="{5E5C0466-3ECB-4D2F-A47F-B12B99490945}"/>
                  </a:ext>
                </a:extLst>
              </p:cNvPr>
              <p:cNvSpPr/>
              <p:nvPr/>
            </p:nvSpPr>
            <p:spPr>
              <a:xfrm>
                <a:off x="2318449" y="613815"/>
                <a:ext cx="332332" cy="336908"/>
              </a:xfrm>
              <a:custGeom>
                <a:avLst/>
                <a:gdLst/>
                <a:ahLst/>
                <a:cxnLst/>
                <a:rect l="l" t="t" r="r" b="b"/>
                <a:pathLst>
                  <a:path w="386433" h="391754" extrusionOk="0">
                    <a:moveTo>
                      <a:pt x="22225" y="106004"/>
                    </a:moveTo>
                    <a:cubicBezTo>
                      <a:pt x="40640" y="82509"/>
                      <a:pt x="84455" y="92670"/>
                      <a:pt x="109855" y="76795"/>
                    </a:cubicBezTo>
                    <a:cubicBezTo>
                      <a:pt x="113030" y="58379"/>
                      <a:pt x="107315" y="43139"/>
                      <a:pt x="98425" y="27264"/>
                    </a:cubicBezTo>
                    <a:cubicBezTo>
                      <a:pt x="122555" y="8850"/>
                      <a:pt x="153035" y="-7661"/>
                      <a:pt x="182880" y="3770"/>
                    </a:cubicBezTo>
                    <a:cubicBezTo>
                      <a:pt x="186690" y="19645"/>
                      <a:pt x="190500" y="36789"/>
                      <a:pt x="194945" y="55839"/>
                    </a:cubicBezTo>
                    <a:cubicBezTo>
                      <a:pt x="226695" y="60284"/>
                      <a:pt x="256540" y="42504"/>
                      <a:pt x="287020" y="52664"/>
                    </a:cubicBezTo>
                    <a:cubicBezTo>
                      <a:pt x="300355" y="119339"/>
                      <a:pt x="327660" y="186014"/>
                      <a:pt x="373380" y="237450"/>
                    </a:cubicBezTo>
                    <a:cubicBezTo>
                      <a:pt x="386080" y="250150"/>
                      <a:pt x="388620" y="262850"/>
                      <a:pt x="384810" y="280629"/>
                    </a:cubicBezTo>
                    <a:cubicBezTo>
                      <a:pt x="356870" y="380325"/>
                      <a:pt x="198755" y="356195"/>
                      <a:pt x="115570" y="391754"/>
                    </a:cubicBezTo>
                    <a:cubicBezTo>
                      <a:pt x="31115" y="324445"/>
                      <a:pt x="4445" y="213320"/>
                      <a:pt x="0" y="108545"/>
                    </a:cubicBezTo>
                    <a:cubicBezTo>
                      <a:pt x="8890" y="107275"/>
                      <a:pt x="15875" y="106004"/>
                      <a:pt x="22860" y="105370"/>
                    </a:cubicBezTo>
                    <a:cubicBezTo>
                      <a:pt x="16510" y="199984"/>
                      <a:pt x="46990" y="300314"/>
                      <a:pt x="115570" y="368259"/>
                    </a:cubicBezTo>
                    <a:cubicBezTo>
                      <a:pt x="184150" y="354925"/>
                      <a:pt x="258445" y="348575"/>
                      <a:pt x="323215" y="320634"/>
                    </a:cubicBezTo>
                    <a:cubicBezTo>
                      <a:pt x="316865" y="290789"/>
                      <a:pt x="302895" y="271104"/>
                      <a:pt x="309245" y="243164"/>
                    </a:cubicBezTo>
                    <a:cubicBezTo>
                      <a:pt x="322580" y="243164"/>
                      <a:pt x="333375" y="243164"/>
                      <a:pt x="347980" y="243164"/>
                    </a:cubicBezTo>
                    <a:cubicBezTo>
                      <a:pt x="325755" y="189825"/>
                      <a:pt x="288290" y="147279"/>
                      <a:pt x="278765" y="88225"/>
                    </a:cubicBezTo>
                    <a:cubicBezTo>
                      <a:pt x="273685" y="48220"/>
                      <a:pt x="226695" y="69809"/>
                      <a:pt x="203835" y="81875"/>
                    </a:cubicBezTo>
                    <a:cubicBezTo>
                      <a:pt x="206375" y="93304"/>
                      <a:pt x="208280" y="102829"/>
                      <a:pt x="210185" y="112354"/>
                    </a:cubicBezTo>
                    <a:cubicBezTo>
                      <a:pt x="182245" y="123784"/>
                      <a:pt x="158115" y="145375"/>
                      <a:pt x="128270" y="132675"/>
                    </a:cubicBezTo>
                    <a:cubicBezTo>
                      <a:pt x="121285" y="63459"/>
                      <a:pt x="57150" y="126325"/>
                      <a:pt x="22225" y="106004"/>
                    </a:cubicBezTo>
                    <a:close/>
                    <a:moveTo>
                      <a:pt x="165100" y="21550"/>
                    </a:moveTo>
                    <a:cubicBezTo>
                      <a:pt x="107315" y="11389"/>
                      <a:pt x="133350" y="88225"/>
                      <a:pt x="145415" y="118070"/>
                    </a:cubicBezTo>
                    <a:cubicBezTo>
                      <a:pt x="163195" y="119975"/>
                      <a:pt x="173355" y="109814"/>
                      <a:pt x="185420" y="100289"/>
                    </a:cubicBezTo>
                    <a:cubicBezTo>
                      <a:pt x="179070" y="72984"/>
                      <a:pt x="172720" y="46314"/>
                      <a:pt x="165100" y="21550"/>
                    </a:cubicBezTo>
                    <a:close/>
                    <a:moveTo>
                      <a:pt x="327660" y="266025"/>
                    </a:moveTo>
                    <a:cubicBezTo>
                      <a:pt x="328930" y="337145"/>
                      <a:pt x="368300" y="313014"/>
                      <a:pt x="357505" y="266025"/>
                    </a:cubicBezTo>
                    <a:cubicBezTo>
                      <a:pt x="349885" y="266025"/>
                      <a:pt x="340360" y="266025"/>
                      <a:pt x="327660" y="266025"/>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3" name="Google Shape;100;p2">
              <a:extLst>
                <a:ext uri="{FF2B5EF4-FFF2-40B4-BE49-F238E27FC236}">
                  <a16:creationId xmlns:a16="http://schemas.microsoft.com/office/drawing/2014/main" id="{FA513803-C6DB-4A96-B1CD-9E139ADB0FB6}"/>
                </a:ext>
              </a:extLst>
            </p:cNvPr>
            <p:cNvSpPr/>
            <p:nvPr/>
          </p:nvSpPr>
          <p:spPr>
            <a:xfrm>
              <a:off x="6021196" y="137179"/>
              <a:ext cx="265484" cy="205157"/>
            </a:xfrm>
            <a:custGeom>
              <a:avLst/>
              <a:gdLst/>
              <a:ahLst/>
              <a:cxnLst/>
              <a:rect l="l" t="t" r="r" b="b"/>
              <a:pathLst>
                <a:path w="308702" h="238555" extrusionOk="0">
                  <a:moveTo>
                    <a:pt x="275682" y="130540"/>
                  </a:moveTo>
                  <a:cubicBezTo>
                    <a:pt x="186782" y="134985"/>
                    <a:pt x="95977" y="143875"/>
                    <a:pt x="7712" y="150225"/>
                  </a:cubicBezTo>
                  <a:cubicBezTo>
                    <a:pt x="-8798" y="168640"/>
                    <a:pt x="1997" y="241030"/>
                    <a:pt x="32477" y="238490"/>
                  </a:cubicBezTo>
                  <a:cubicBezTo>
                    <a:pt x="126457" y="218805"/>
                    <a:pt x="214087" y="238490"/>
                    <a:pt x="308702" y="211820"/>
                  </a:cubicBezTo>
                  <a:cubicBezTo>
                    <a:pt x="278857" y="185150"/>
                    <a:pt x="322672" y="132445"/>
                    <a:pt x="275682" y="130540"/>
                  </a:cubicBezTo>
                  <a:close/>
                  <a:moveTo>
                    <a:pt x="271872" y="187690"/>
                  </a:moveTo>
                  <a:cubicBezTo>
                    <a:pt x="200752" y="219440"/>
                    <a:pt x="111217" y="202930"/>
                    <a:pt x="33112" y="211185"/>
                  </a:cubicBezTo>
                  <a:cubicBezTo>
                    <a:pt x="25492" y="195310"/>
                    <a:pt x="24857" y="195310"/>
                    <a:pt x="29302" y="175625"/>
                  </a:cubicBezTo>
                  <a:cubicBezTo>
                    <a:pt x="108677" y="166100"/>
                    <a:pt x="196307" y="146415"/>
                    <a:pt x="274412" y="159750"/>
                  </a:cubicBezTo>
                  <a:cubicBezTo>
                    <a:pt x="273777" y="169275"/>
                    <a:pt x="272507" y="179435"/>
                    <a:pt x="271872" y="187690"/>
                  </a:cubicBezTo>
                  <a:close/>
                  <a:moveTo>
                    <a:pt x="3902" y="80375"/>
                  </a:moveTo>
                  <a:cubicBezTo>
                    <a:pt x="10252" y="126095"/>
                    <a:pt x="181067" y="83550"/>
                    <a:pt x="218532" y="87995"/>
                  </a:cubicBezTo>
                  <a:cubicBezTo>
                    <a:pt x="295367" y="95615"/>
                    <a:pt x="307432" y="97520"/>
                    <a:pt x="293462" y="19415"/>
                  </a:cubicBezTo>
                  <a:cubicBezTo>
                    <a:pt x="285842" y="-17415"/>
                    <a:pt x="73117" y="11160"/>
                    <a:pt x="28032" y="2270"/>
                  </a:cubicBezTo>
                  <a:cubicBezTo>
                    <a:pt x="-10068" y="1635"/>
                    <a:pt x="6442" y="55610"/>
                    <a:pt x="3902" y="80375"/>
                  </a:cubicBezTo>
                  <a:close/>
                  <a:moveTo>
                    <a:pt x="40097" y="25130"/>
                  </a:moveTo>
                  <a:cubicBezTo>
                    <a:pt x="78197" y="25765"/>
                    <a:pt x="115027" y="14970"/>
                    <a:pt x="153762" y="23225"/>
                  </a:cubicBezTo>
                  <a:cubicBezTo>
                    <a:pt x="189957" y="39735"/>
                    <a:pt x="274412" y="-6620"/>
                    <a:pt x="276317" y="52435"/>
                  </a:cubicBezTo>
                  <a:cubicBezTo>
                    <a:pt x="287747" y="79105"/>
                    <a:pt x="54067" y="73390"/>
                    <a:pt x="26762" y="72120"/>
                  </a:cubicBezTo>
                  <a:cubicBezTo>
                    <a:pt x="27397" y="54975"/>
                    <a:pt x="15332" y="26400"/>
                    <a:pt x="40097" y="251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nvGrpSpPr>
            <p:cNvPr id="64" name="Google Shape;101;p2">
              <a:extLst>
                <a:ext uri="{FF2B5EF4-FFF2-40B4-BE49-F238E27FC236}">
                  <a16:creationId xmlns:a16="http://schemas.microsoft.com/office/drawing/2014/main" id="{B80C4209-0690-4AAC-BF88-3AB881D5F86A}"/>
                </a:ext>
              </a:extLst>
            </p:cNvPr>
            <p:cNvGrpSpPr/>
            <p:nvPr/>
          </p:nvGrpSpPr>
          <p:grpSpPr>
            <a:xfrm>
              <a:off x="1184427" y="4630083"/>
              <a:ext cx="229693" cy="293080"/>
              <a:chOff x="6793660" y="3322411"/>
              <a:chExt cx="268804" cy="342944"/>
            </a:xfrm>
          </p:grpSpPr>
          <p:sp>
            <p:nvSpPr>
              <p:cNvPr id="69" name="Google Shape;102;p2">
                <a:extLst>
                  <a:ext uri="{FF2B5EF4-FFF2-40B4-BE49-F238E27FC236}">
                    <a16:creationId xmlns:a16="http://schemas.microsoft.com/office/drawing/2014/main" id="{B923C977-ADAA-4F71-9F28-0DB582894E5B}"/>
                  </a:ext>
                </a:extLst>
              </p:cNvPr>
              <p:cNvSpPr/>
              <p:nvPr/>
            </p:nvSpPr>
            <p:spPr>
              <a:xfrm>
                <a:off x="6793660" y="3322411"/>
                <a:ext cx="268804" cy="342944"/>
              </a:xfrm>
              <a:custGeom>
                <a:avLst/>
                <a:gdLst/>
                <a:ahLst/>
                <a:cxnLst/>
                <a:rect l="l" t="t" r="r" b="b"/>
                <a:pathLst>
                  <a:path w="312563" h="398772" extrusionOk="0">
                    <a:moveTo>
                      <a:pt x="216826" y="153028"/>
                    </a:moveTo>
                    <a:cubicBezTo>
                      <a:pt x="221271" y="163188"/>
                      <a:pt x="230796" y="165093"/>
                      <a:pt x="238416" y="166997"/>
                    </a:cubicBezTo>
                    <a:cubicBezTo>
                      <a:pt x="302551" y="185413"/>
                      <a:pt x="337476" y="278758"/>
                      <a:pt x="291756" y="323843"/>
                    </a:cubicBezTo>
                    <a:cubicBezTo>
                      <a:pt x="232701" y="397503"/>
                      <a:pt x="134911" y="398772"/>
                      <a:pt x="48551" y="398772"/>
                    </a:cubicBezTo>
                    <a:cubicBezTo>
                      <a:pt x="926" y="373372"/>
                      <a:pt x="31406" y="246372"/>
                      <a:pt x="16166" y="193668"/>
                    </a:cubicBezTo>
                    <a:cubicBezTo>
                      <a:pt x="21881" y="142868"/>
                      <a:pt x="-23839" y="59047"/>
                      <a:pt x="17436" y="23488"/>
                    </a:cubicBezTo>
                    <a:cubicBezTo>
                      <a:pt x="114591" y="-33028"/>
                      <a:pt x="340016" y="13328"/>
                      <a:pt x="216826" y="153028"/>
                    </a:cubicBezTo>
                    <a:close/>
                    <a:moveTo>
                      <a:pt x="54901" y="378453"/>
                    </a:moveTo>
                    <a:cubicBezTo>
                      <a:pt x="170471" y="401313"/>
                      <a:pt x="394626" y="293997"/>
                      <a:pt x="234606" y="185413"/>
                    </a:cubicBezTo>
                    <a:cubicBezTo>
                      <a:pt x="203491" y="168903"/>
                      <a:pt x="153326" y="198747"/>
                      <a:pt x="133006" y="175253"/>
                    </a:cubicBezTo>
                    <a:cubicBezTo>
                      <a:pt x="144436" y="149218"/>
                      <a:pt x="190791" y="149218"/>
                      <a:pt x="209206" y="125088"/>
                    </a:cubicBezTo>
                    <a:cubicBezTo>
                      <a:pt x="287946" y="16503"/>
                      <a:pt x="107606" y="-642"/>
                      <a:pt x="40296" y="38093"/>
                    </a:cubicBezTo>
                    <a:cubicBezTo>
                      <a:pt x="2831" y="52697"/>
                      <a:pt x="33311" y="106672"/>
                      <a:pt x="30136" y="137153"/>
                    </a:cubicBezTo>
                    <a:cubicBezTo>
                      <a:pt x="44741" y="218433"/>
                      <a:pt x="40931" y="297808"/>
                      <a:pt x="54901" y="378453"/>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0" name="Google Shape;103;p2">
                <a:extLst>
                  <a:ext uri="{FF2B5EF4-FFF2-40B4-BE49-F238E27FC236}">
                    <a16:creationId xmlns:a16="http://schemas.microsoft.com/office/drawing/2014/main" id="{A15BC7F6-A2A2-4D19-AC66-B91FA8853697}"/>
                  </a:ext>
                </a:extLst>
              </p:cNvPr>
              <p:cNvSpPr/>
              <p:nvPr/>
            </p:nvSpPr>
            <p:spPr>
              <a:xfrm>
                <a:off x="6856211" y="3513113"/>
                <a:ext cx="129046" cy="89953"/>
              </a:xfrm>
              <a:custGeom>
                <a:avLst/>
                <a:gdLst/>
                <a:ahLst/>
                <a:cxnLst/>
                <a:rect l="l" t="t" r="r" b="b"/>
                <a:pathLst>
                  <a:path w="150053" h="104597" extrusionOk="0">
                    <a:moveTo>
                      <a:pt x="0" y="23515"/>
                    </a:moveTo>
                    <a:cubicBezTo>
                      <a:pt x="96520" y="-43160"/>
                      <a:pt x="239395" y="48280"/>
                      <a:pt x="74930" y="95905"/>
                    </a:cubicBezTo>
                    <a:cubicBezTo>
                      <a:pt x="-23495" y="118765"/>
                      <a:pt x="19685" y="97175"/>
                      <a:pt x="0" y="23515"/>
                    </a:cubicBezTo>
                    <a:close/>
                    <a:moveTo>
                      <a:pt x="92075" y="16530"/>
                    </a:moveTo>
                    <a:cubicBezTo>
                      <a:pt x="57150" y="22880"/>
                      <a:pt x="17780" y="24150"/>
                      <a:pt x="31750" y="69235"/>
                    </a:cubicBezTo>
                    <a:cubicBezTo>
                      <a:pt x="53340" y="109875"/>
                      <a:pt x="184150" y="29230"/>
                      <a:pt x="92075" y="1653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71" name="Google Shape;104;p2">
                <a:extLst>
                  <a:ext uri="{FF2B5EF4-FFF2-40B4-BE49-F238E27FC236}">
                    <a16:creationId xmlns:a16="http://schemas.microsoft.com/office/drawing/2014/main" id="{9FEC534F-B9AF-47D0-9970-81E5E96067BD}"/>
                  </a:ext>
                </a:extLst>
              </p:cNvPr>
              <p:cNvSpPr/>
              <p:nvPr/>
            </p:nvSpPr>
            <p:spPr>
              <a:xfrm>
                <a:off x="6843642" y="3359143"/>
                <a:ext cx="112645" cy="75760"/>
              </a:xfrm>
              <a:custGeom>
                <a:avLst/>
                <a:gdLst/>
                <a:ahLst/>
                <a:cxnLst/>
                <a:rect l="l" t="t" r="r" b="b"/>
                <a:pathLst>
                  <a:path w="130983" h="88093" extrusionOk="0">
                    <a:moveTo>
                      <a:pt x="0" y="22716"/>
                    </a:moveTo>
                    <a:cubicBezTo>
                      <a:pt x="33020" y="8111"/>
                      <a:pt x="162560" y="-29989"/>
                      <a:pt x="123825" y="44941"/>
                    </a:cubicBezTo>
                    <a:cubicBezTo>
                      <a:pt x="67945" y="81136"/>
                      <a:pt x="0" y="130031"/>
                      <a:pt x="0" y="22716"/>
                    </a:cubicBezTo>
                    <a:close/>
                    <a:moveTo>
                      <a:pt x="34289" y="67166"/>
                    </a:moveTo>
                    <a:cubicBezTo>
                      <a:pt x="60325" y="58911"/>
                      <a:pt x="96520" y="46846"/>
                      <a:pt x="102235" y="20176"/>
                    </a:cubicBezTo>
                    <a:cubicBezTo>
                      <a:pt x="74295" y="17636"/>
                      <a:pt x="50164" y="25256"/>
                      <a:pt x="27305" y="37321"/>
                    </a:cubicBezTo>
                    <a:cubicBezTo>
                      <a:pt x="24130" y="49386"/>
                      <a:pt x="24764" y="57641"/>
                      <a:pt x="34289" y="67166"/>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
          <p:nvSpPr>
            <p:cNvPr id="65" name="Google Shape;105;p2">
              <a:extLst>
                <a:ext uri="{FF2B5EF4-FFF2-40B4-BE49-F238E27FC236}">
                  <a16:creationId xmlns:a16="http://schemas.microsoft.com/office/drawing/2014/main" id="{3C5A8E4E-2D95-42E0-BFF6-55CD715703A5}"/>
                </a:ext>
              </a:extLst>
            </p:cNvPr>
            <p:cNvSpPr/>
            <p:nvPr/>
          </p:nvSpPr>
          <p:spPr>
            <a:xfrm>
              <a:off x="4843337" y="836403"/>
              <a:ext cx="377232" cy="204888"/>
            </a:xfrm>
            <a:custGeom>
              <a:avLst/>
              <a:gdLst/>
              <a:ahLst/>
              <a:cxnLst/>
              <a:rect l="l" t="t" r="r" b="b"/>
              <a:pathLst>
                <a:path w="550703" h="299106" extrusionOk="0">
                  <a:moveTo>
                    <a:pt x="315400" y="163550"/>
                  </a:moveTo>
                  <a:cubicBezTo>
                    <a:pt x="376995" y="159105"/>
                    <a:pt x="479865" y="221335"/>
                    <a:pt x="505265" y="137515"/>
                  </a:cubicBezTo>
                  <a:cubicBezTo>
                    <a:pt x="521140" y="29565"/>
                    <a:pt x="410015" y="17500"/>
                    <a:pt x="347150" y="85445"/>
                  </a:cubicBezTo>
                  <a:cubicBezTo>
                    <a:pt x="271585" y="162915"/>
                    <a:pt x="215070" y="322300"/>
                    <a:pt x="82355" y="296265"/>
                  </a:cubicBezTo>
                  <a:cubicBezTo>
                    <a:pt x="-122750" y="216255"/>
                    <a:pt x="103945" y="13055"/>
                    <a:pt x="235390" y="104495"/>
                  </a:cubicBezTo>
                  <a:cubicBezTo>
                    <a:pt x="255075" y="120370"/>
                    <a:pt x="243645" y="141960"/>
                    <a:pt x="220150" y="127990"/>
                  </a:cubicBezTo>
                  <a:cubicBezTo>
                    <a:pt x="107120" y="72745"/>
                    <a:pt x="-35755" y="251180"/>
                    <a:pt x="118550" y="248640"/>
                  </a:cubicBezTo>
                  <a:cubicBezTo>
                    <a:pt x="248725" y="211810"/>
                    <a:pt x="274760" y="49885"/>
                    <a:pt x="402395" y="9245"/>
                  </a:cubicBezTo>
                  <a:cubicBezTo>
                    <a:pt x="433510" y="1625"/>
                    <a:pt x="474785" y="-10440"/>
                    <a:pt x="498280" y="17500"/>
                  </a:cubicBezTo>
                  <a:cubicBezTo>
                    <a:pt x="519235" y="48615"/>
                    <a:pt x="559240" y="75920"/>
                    <a:pt x="549080" y="117830"/>
                  </a:cubicBezTo>
                  <a:cubicBezTo>
                    <a:pt x="541460" y="223240"/>
                    <a:pt x="350325" y="257530"/>
                    <a:pt x="315400" y="163550"/>
                  </a:cubicBezTo>
                  <a:close/>
                  <a:moveTo>
                    <a:pt x="128710" y="265785"/>
                  </a:moveTo>
                  <a:cubicBezTo>
                    <a:pt x="119820" y="279120"/>
                    <a:pt x="105215" y="267055"/>
                    <a:pt x="94420" y="274040"/>
                  </a:cubicBezTo>
                  <a:cubicBezTo>
                    <a:pt x="113470" y="281660"/>
                    <a:pt x="117280" y="256260"/>
                    <a:pt x="133790" y="268960"/>
                  </a:cubicBezTo>
                  <a:cubicBezTo>
                    <a:pt x="135060" y="268960"/>
                    <a:pt x="136330" y="267690"/>
                    <a:pt x="137600" y="267055"/>
                  </a:cubicBezTo>
                  <a:cubicBezTo>
                    <a:pt x="134425" y="266420"/>
                    <a:pt x="131885" y="266420"/>
                    <a:pt x="128710" y="265785"/>
                  </a:cubicBezTo>
                  <a:close/>
                  <a:moveTo>
                    <a:pt x="39175" y="164820"/>
                  </a:moveTo>
                  <a:cubicBezTo>
                    <a:pt x="11870" y="209270"/>
                    <a:pt x="25205" y="257530"/>
                    <a:pt x="65210" y="265150"/>
                  </a:cubicBezTo>
                  <a:cubicBezTo>
                    <a:pt x="34730" y="237210"/>
                    <a:pt x="20125" y="205460"/>
                    <a:pt x="39175" y="16482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6" name="Google Shape;106;p2">
              <a:extLst>
                <a:ext uri="{FF2B5EF4-FFF2-40B4-BE49-F238E27FC236}">
                  <a16:creationId xmlns:a16="http://schemas.microsoft.com/office/drawing/2014/main" id="{7401099E-BCAB-4984-9156-073D0B5C8ADF}"/>
                </a:ext>
              </a:extLst>
            </p:cNvPr>
            <p:cNvSpPr/>
            <p:nvPr/>
          </p:nvSpPr>
          <p:spPr>
            <a:xfrm rot="-2218186">
              <a:off x="-38492" y="151543"/>
              <a:ext cx="236276" cy="230041"/>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7" name="Google Shape;107;p2">
              <a:extLst>
                <a:ext uri="{FF2B5EF4-FFF2-40B4-BE49-F238E27FC236}">
                  <a16:creationId xmlns:a16="http://schemas.microsoft.com/office/drawing/2014/main" id="{F99A971C-E4E0-4CA7-8E34-DA50FE569F9B}"/>
                </a:ext>
              </a:extLst>
            </p:cNvPr>
            <p:cNvSpPr/>
            <p:nvPr/>
          </p:nvSpPr>
          <p:spPr>
            <a:xfrm rot="1464154">
              <a:off x="4569091" y="-94554"/>
              <a:ext cx="235935" cy="229710"/>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sp>
          <p:nvSpPr>
            <p:cNvPr id="68" name="Google Shape;108;p2">
              <a:extLst>
                <a:ext uri="{FF2B5EF4-FFF2-40B4-BE49-F238E27FC236}">
                  <a16:creationId xmlns:a16="http://schemas.microsoft.com/office/drawing/2014/main" id="{C5971175-E8D4-45D8-BFD0-4CA9D07EEE87}"/>
                </a:ext>
              </a:extLst>
            </p:cNvPr>
            <p:cNvSpPr/>
            <p:nvPr/>
          </p:nvSpPr>
          <p:spPr>
            <a:xfrm rot="-2221343">
              <a:off x="1866371" y="3538528"/>
              <a:ext cx="206347" cy="200902"/>
            </a:xfrm>
            <a:custGeom>
              <a:avLst/>
              <a:gdLst/>
              <a:ahLst/>
              <a:cxnLst/>
              <a:rect l="l" t="t" r="r" b="b"/>
              <a:pathLst>
                <a:path w="274579" h="267334" extrusionOk="0">
                  <a:moveTo>
                    <a:pt x="222259" y="167640"/>
                  </a:moveTo>
                  <a:cubicBezTo>
                    <a:pt x="200669" y="206375"/>
                    <a:pt x="227974" y="238760"/>
                    <a:pt x="193049" y="267335"/>
                  </a:cubicBezTo>
                  <a:cubicBezTo>
                    <a:pt x="166379" y="251460"/>
                    <a:pt x="158124" y="217805"/>
                    <a:pt x="132724" y="198755"/>
                  </a:cubicBezTo>
                  <a:cubicBezTo>
                    <a:pt x="50809" y="235585"/>
                    <a:pt x="-626" y="271780"/>
                    <a:pt x="51444" y="151130"/>
                  </a:cubicBezTo>
                  <a:cubicBezTo>
                    <a:pt x="27949" y="105410"/>
                    <a:pt x="-53966" y="71120"/>
                    <a:pt x="55889" y="73660"/>
                  </a:cubicBezTo>
                  <a:cubicBezTo>
                    <a:pt x="107959" y="83820"/>
                    <a:pt x="113674" y="19685"/>
                    <a:pt x="156854" y="0"/>
                  </a:cubicBezTo>
                  <a:cubicBezTo>
                    <a:pt x="186064" y="11430"/>
                    <a:pt x="174634" y="57785"/>
                    <a:pt x="184794" y="83185"/>
                  </a:cubicBezTo>
                  <a:cubicBezTo>
                    <a:pt x="215274" y="124460"/>
                    <a:pt x="346084" y="109220"/>
                    <a:pt x="222259" y="167640"/>
                  </a:cubicBezTo>
                  <a:close/>
                  <a:moveTo>
                    <a:pt x="151774" y="35560"/>
                  </a:moveTo>
                  <a:cubicBezTo>
                    <a:pt x="100339" y="85725"/>
                    <a:pt x="120659" y="93980"/>
                    <a:pt x="39379" y="97790"/>
                  </a:cubicBezTo>
                  <a:cubicBezTo>
                    <a:pt x="53349" y="115570"/>
                    <a:pt x="65414" y="131445"/>
                    <a:pt x="76844" y="146685"/>
                  </a:cubicBezTo>
                  <a:cubicBezTo>
                    <a:pt x="74304" y="165735"/>
                    <a:pt x="60969" y="180340"/>
                    <a:pt x="63509" y="201295"/>
                  </a:cubicBezTo>
                  <a:cubicBezTo>
                    <a:pt x="123199" y="180975"/>
                    <a:pt x="142884" y="154940"/>
                    <a:pt x="178444" y="226695"/>
                  </a:cubicBezTo>
                  <a:cubicBezTo>
                    <a:pt x="181619" y="231140"/>
                    <a:pt x="184794" y="234950"/>
                    <a:pt x="191779" y="231140"/>
                  </a:cubicBezTo>
                  <a:cubicBezTo>
                    <a:pt x="200034" y="175260"/>
                    <a:pt x="182889" y="165735"/>
                    <a:pt x="231784" y="129540"/>
                  </a:cubicBezTo>
                  <a:cubicBezTo>
                    <a:pt x="152409" y="103505"/>
                    <a:pt x="167014" y="113030"/>
                    <a:pt x="151774" y="35560"/>
                  </a:cubicBez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a-DK" sz="1800">
                <a:solidFill>
                  <a:srgbClr val="000000"/>
                </a:solidFill>
                <a:latin typeface="Short Stack"/>
                <a:ea typeface="Short Stack"/>
                <a:cs typeface="Short Stack"/>
                <a:sym typeface="Short Stack"/>
              </a:endParaRPr>
            </a:p>
          </p:txBody>
        </p:sp>
      </p:grpSp>
    </p:spTree>
    <p:extLst>
      <p:ext uri="{BB962C8B-B14F-4D97-AF65-F5344CB8AC3E}">
        <p14:creationId xmlns:p14="http://schemas.microsoft.com/office/powerpoint/2010/main" val="22360431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BADF89E-7B46-457A-968E-2EC4E643C292}"/>
              </a:ext>
            </a:extLst>
          </p:cNvPr>
          <p:cNvGraphicFramePr>
            <a:graphicFrameLocks noChangeAspect="1"/>
          </p:cNvGraphicFramePr>
          <p:nvPr userDrawn="1">
            <p:custDataLst>
              <p:tags r:id="rId1"/>
            </p:custDataLst>
            <p:extLst>
              <p:ext uri="{D42A27DB-BD31-4B8C-83A1-F6EECF244321}">
                <p14:modId xmlns:p14="http://schemas.microsoft.com/office/powerpoint/2010/main" val="3537625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5BADF89E-7B46-457A-968E-2EC4E643C2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endParaRPr lang="da-DK"/>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lvl1pPr rtl="0">
              <a:defRPr/>
            </a:lvl1pPr>
          </a:lstStyle>
          <a:p>
            <a:fld id="{7494C8F4-6B6A-48C1-B023-792B6BA54AED}" type="datetime1">
              <a:rPr lang="da-DK" smtClean="0"/>
              <a:pPr/>
              <a:t>18.06.2024</a:t>
            </a:fld>
            <a:endParaRPr lang="da-DK"/>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9078390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181633-8F80-4D7E-B046-3481FFAD6D62}"/>
              </a:ext>
            </a:extLst>
          </p:cNvPr>
          <p:cNvGraphicFramePr>
            <a:graphicFrameLocks noChangeAspect="1"/>
          </p:cNvGraphicFramePr>
          <p:nvPr userDrawn="1">
            <p:custDataLst>
              <p:tags r:id="rId1"/>
            </p:custDataLst>
            <p:extLst>
              <p:ext uri="{D42A27DB-BD31-4B8C-83A1-F6EECF244321}">
                <p14:modId xmlns:p14="http://schemas.microsoft.com/office/powerpoint/2010/main" val="10894246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A3181633-8F80-4D7E-B046-3481FFAD6D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lvl1pPr rtl="0">
              <a:defRPr/>
            </a:lvl1pPr>
          </a:lstStyle>
          <a:p>
            <a:fld id="{8C247F8E-8C20-40E4-A53C-3DA358D8C9A7}" type="datetime1">
              <a:rPr lang="da-DK" smtClean="0"/>
              <a:pPr/>
              <a:t>18.06.2024</a:t>
            </a:fld>
            <a:endParaRPr lang="da-DK"/>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954852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FAAEEF4-43C5-4FEC-A7AB-DEFE097F5DBF}"/>
              </a:ext>
            </a:extLst>
          </p:cNvPr>
          <p:cNvGraphicFramePr>
            <a:graphicFrameLocks noChangeAspect="1"/>
          </p:cNvGraphicFramePr>
          <p:nvPr userDrawn="1">
            <p:custDataLst>
              <p:tags r:id="rId1"/>
            </p:custDataLst>
            <p:extLst>
              <p:ext uri="{D42A27DB-BD31-4B8C-83A1-F6EECF244321}">
                <p14:modId xmlns:p14="http://schemas.microsoft.com/office/powerpoint/2010/main" val="2892288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0FAAEEF4-43C5-4FEC-A7AB-DEFE097F5D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8E8C12B2-0AE5-428E-985F-E18D4DA17AC7}"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360000" y="654050"/>
            <a:ext cx="11471638" cy="938213"/>
          </a:xfrm>
        </p:spPr>
        <p:txBody>
          <a:bodyPr vert="horz" anchor="t" anchorCtr="0"/>
          <a:lstStyle>
            <a:lvl1pPr algn="l" rtl="0">
              <a:defRPr sz="6000">
                <a:solidFill>
                  <a:schemeClr val="bg2"/>
                </a:solidFill>
              </a:defRPr>
            </a:lvl1pPr>
          </a:lstStyle>
          <a:p>
            <a:r>
              <a:rPr lang="da-DK" noProof="0"/>
              <a:t>Click to add </a:t>
            </a:r>
            <a:r>
              <a:rPr lang="da-DK"/>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3797425276"/>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6E477C6-0E0F-4923-9BE1-6EA202782F14}"/>
              </a:ext>
            </a:extLst>
          </p:cNvPr>
          <p:cNvGraphicFramePr>
            <a:graphicFrameLocks noChangeAspect="1"/>
          </p:cNvGraphicFramePr>
          <p:nvPr userDrawn="1">
            <p:custDataLst>
              <p:tags r:id="rId1"/>
            </p:custDataLst>
            <p:extLst>
              <p:ext uri="{D42A27DB-BD31-4B8C-83A1-F6EECF244321}">
                <p14:modId xmlns:p14="http://schemas.microsoft.com/office/powerpoint/2010/main" val="3723226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6E477C6-0E0F-4923-9BE1-6EA202782F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285753852"/>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D6712D-8349-4452-83F4-F74B096DC8E1}"/>
              </a:ext>
            </a:extLst>
          </p:cNvPr>
          <p:cNvGraphicFramePr>
            <a:graphicFrameLocks noChangeAspect="1"/>
          </p:cNvGraphicFramePr>
          <p:nvPr userDrawn="1">
            <p:custDataLst>
              <p:tags r:id="rId1"/>
            </p:custDataLst>
            <p:extLst>
              <p:ext uri="{D42A27DB-BD31-4B8C-83A1-F6EECF244321}">
                <p14:modId xmlns:p14="http://schemas.microsoft.com/office/powerpoint/2010/main" val="41740819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F9D6712D-8349-4452-83F4-F74B096DC8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1"/>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3980217615"/>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63C12A-5A0C-47F1-A66E-EB845B95A278}"/>
              </a:ext>
            </a:extLst>
          </p:cNvPr>
          <p:cNvGraphicFramePr>
            <a:graphicFrameLocks noChangeAspect="1"/>
          </p:cNvGraphicFramePr>
          <p:nvPr userDrawn="1">
            <p:custDataLst>
              <p:tags r:id="rId1"/>
            </p:custDataLst>
            <p:extLst>
              <p:ext uri="{D42A27DB-BD31-4B8C-83A1-F6EECF244321}">
                <p14:modId xmlns:p14="http://schemas.microsoft.com/office/powerpoint/2010/main" val="3422578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63C12A-5A0C-47F1-A66E-EB845B95A2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D9DD72BF-EDEC-441F-B5D6-F68832F343C4}"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rtl="0">
              <a:spcAft>
                <a:spcPts val="0"/>
              </a:spcAft>
              <a:buNone/>
              <a:defRPr sz="1600"/>
            </a:lvl1pPr>
          </a:lstStyle>
          <a:p>
            <a:r>
              <a:rPr lang="da-DK"/>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1471638" cy="1174751"/>
          </a:xfrm>
        </p:spPr>
        <p:txBody>
          <a:bodyPr vert="horz" anchor="t" anchorCtr="0"/>
          <a:lstStyle>
            <a:lvl1pPr algn="l" rtl="0">
              <a:defRPr sz="6000">
                <a:solidFill>
                  <a:schemeClr val="tx2"/>
                </a:solidFill>
              </a:defRPr>
            </a:lvl1pPr>
          </a:lstStyle>
          <a:p>
            <a:r>
              <a:rPr lang="da-DK" noProof="0"/>
              <a:t>Click to add </a:t>
            </a:r>
            <a:r>
              <a:rPr lang="da-DK"/>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rtl="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da-DK"/>
              <a:t>Click to add Name Last name</a:t>
            </a:r>
            <a:br>
              <a:rPr lang="da-DK"/>
            </a:br>
            <a:r>
              <a:rPr lang="da-DK"/>
              <a:t>Job title, Department</a:t>
            </a:r>
            <a:br>
              <a:rPr lang="da-DK"/>
            </a:br>
            <a:r>
              <a:rPr lang="da-DK"/>
              <a:t>e-mail</a:t>
            </a:r>
          </a:p>
        </p:txBody>
      </p:sp>
    </p:spTree>
    <p:extLst>
      <p:ext uri="{BB962C8B-B14F-4D97-AF65-F5344CB8AC3E}">
        <p14:creationId xmlns:p14="http://schemas.microsoft.com/office/powerpoint/2010/main" val="2236477381"/>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32FAD87-12DE-4F46-A7FF-9DA753895102}"/>
              </a:ext>
            </a:extLst>
          </p:cNvPr>
          <p:cNvGraphicFramePr>
            <a:graphicFrameLocks noChangeAspect="1"/>
          </p:cNvGraphicFramePr>
          <p:nvPr userDrawn="1">
            <p:custDataLst>
              <p:tags r:id="rId1"/>
            </p:custDataLst>
            <p:extLst>
              <p:ext uri="{D42A27DB-BD31-4B8C-83A1-F6EECF244321}">
                <p14:modId xmlns:p14="http://schemas.microsoft.com/office/powerpoint/2010/main" val="196375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632FAD87-12DE-4F46-A7FF-9DA7538951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A6F26645-C2A2-4B76-9EB3-5D9CA57B224A}"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418413711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A611428-C7C8-414E-980A-EBF482F7239B}"/>
              </a:ext>
            </a:extLst>
          </p:cNvPr>
          <p:cNvGraphicFramePr>
            <a:graphicFrameLocks noChangeAspect="1"/>
          </p:cNvGraphicFramePr>
          <p:nvPr userDrawn="1">
            <p:custDataLst>
              <p:tags r:id="rId1"/>
            </p:custDataLst>
            <p:extLst>
              <p:ext uri="{D42A27DB-BD31-4B8C-83A1-F6EECF244321}">
                <p14:modId xmlns:p14="http://schemas.microsoft.com/office/powerpoint/2010/main" val="2844534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3A611428-C7C8-414E-980A-EBF482F723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rtl="0">
              <a:defRPr sz="100">
                <a:noFill/>
              </a:defRPr>
            </a:lvl1pPr>
          </a:lstStyle>
          <a:p>
            <a:fld id="{F25BA43C-8502-4266-A056-72866794E701}" type="datetime1">
              <a:rPr lang="da-DK" smtClean="0"/>
              <a:pPr/>
              <a:t>18.06.2024</a:t>
            </a:fld>
            <a:endParaRPr lang="da-DK"/>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rtl="0">
              <a:defRPr sz="100">
                <a:noFill/>
              </a:defRPr>
            </a:lvl1pPr>
          </a:lstStyle>
          <a:p>
            <a:endParaRPr lang="da-DK"/>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rtl="0">
              <a:defRPr sz="100">
                <a:noFill/>
              </a:defRPr>
            </a:lvl1pPr>
          </a:lstStyle>
          <a:p>
            <a:fld id="{24C8C45C-947F-4981-8B3F-4F32E973C901}" type="slidenum">
              <a:rPr lang="da-DK" smtClean="0"/>
              <a:pPr/>
              <a:t>‹nr.›</a:t>
            </a:fld>
            <a:endParaRPr lang="da-DK"/>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952240583"/>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8377B1-4288-46FB-ADCE-D255A6EB9D3D}"/>
              </a:ext>
            </a:extLst>
          </p:cNvPr>
          <p:cNvGraphicFramePr>
            <a:graphicFrameLocks noChangeAspect="1"/>
          </p:cNvGraphicFramePr>
          <p:nvPr userDrawn="1">
            <p:custDataLst>
              <p:tags r:id="rId1"/>
            </p:custDataLst>
            <p:extLst>
              <p:ext uri="{D42A27DB-BD31-4B8C-83A1-F6EECF244321}">
                <p14:modId xmlns:p14="http://schemas.microsoft.com/office/powerpoint/2010/main" val="87699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0D8377B1-4288-46FB-ADCE-D255A6EB9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5"/>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PICTURES</a:t>
            </a:r>
            <a:br>
              <a:rPr lang="da-DK" sz="900">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Insert corporate picture from Templafy</a:t>
            </a: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rgbClr val="333333"/>
                </a:solidFill>
                <a:latin typeface="+mn-lt"/>
                <a:cs typeface="Verdana" panose="020B0604030504040204" pitchFamily="34" charset="0"/>
              </a:rPr>
              <a:t>1.</a:t>
            </a:r>
            <a:r>
              <a:rPr lang="da-DK" altLang="da-DK" sz="900" b="0" noProof="1">
                <a:solidFill>
                  <a:srgbClr val="333333"/>
                </a:solidFill>
                <a:latin typeface="+mn-lt"/>
                <a:cs typeface="Verdana" panose="020B0604030504040204" pitchFamily="34" charset="0"/>
              </a:rPr>
              <a:t> Click the blue </a:t>
            </a:r>
            <a:r>
              <a:rPr lang="da-DK" altLang="da-DK" sz="900" b="1" baseline="0" noProof="1">
                <a:solidFill>
                  <a:srgbClr val="333333"/>
                </a:solidFill>
                <a:latin typeface="+mn-lt"/>
                <a:cs typeface="Verdana" panose="020B0604030504040204" pitchFamily="34" charset="0"/>
              </a:rPr>
              <a:t>Templafy </a:t>
            </a:r>
            <a:r>
              <a:rPr lang="da-DK"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2. </a:t>
            </a:r>
            <a:r>
              <a:rPr lang="da-DK" altLang="da-DK" sz="900" b="0" baseline="0" noProof="1">
                <a:solidFill>
                  <a:srgbClr val="333333"/>
                </a:solidFill>
                <a:latin typeface="+mn-lt"/>
                <a:cs typeface="Verdana" panose="020B0604030504040204" pitchFamily="34" charset="0"/>
              </a:rPr>
              <a:t>In the dropdown, click </a:t>
            </a:r>
            <a:r>
              <a:rPr lang="da-DK" altLang="da-DK" sz="900" b="1" baseline="0" noProof="1">
                <a:solidFill>
                  <a:srgbClr val="333333"/>
                </a:solidFill>
                <a:latin typeface="+mn-lt"/>
                <a:cs typeface="Verdana" panose="020B0604030504040204" pitchFamily="34" charset="0"/>
              </a:rPr>
              <a:t>Images</a:t>
            </a:r>
            <a:r>
              <a:rPr lang="da-DK" altLang="da-DK" sz="900" b="0" baseline="0" noProof="1">
                <a:solidFill>
                  <a:srgbClr val="333333"/>
                </a:solidFill>
                <a:latin typeface="+mn-lt"/>
                <a:cs typeface="Verdana" panose="020B0604030504040204" pitchFamily="34" charset="0"/>
              </a:rPr>
              <a:t>, or click the </a:t>
            </a:r>
            <a:r>
              <a:rPr lang="da-DK" altLang="da-DK" sz="900" b="1" baseline="0" noProof="1">
                <a:solidFill>
                  <a:srgbClr val="333333"/>
                </a:solidFill>
                <a:latin typeface="+mn-lt"/>
                <a:cs typeface="Verdana" panose="020B0604030504040204" pitchFamily="34" charset="0"/>
              </a:rPr>
              <a:t>Images </a:t>
            </a:r>
            <a:r>
              <a:rPr lang="da-DK" altLang="da-DK" sz="900" b="0" i="0" baseline="0" noProof="1">
                <a:solidFill>
                  <a:srgbClr val="333333"/>
                </a:solidFill>
                <a:latin typeface="+mn-lt"/>
                <a:cs typeface="Verdana" panose="020B0604030504040204" pitchFamily="34" charset="0"/>
              </a:rPr>
              <a:t>button</a:t>
            </a:r>
            <a:r>
              <a:rPr lang="da-DK" altLang="da-DK" sz="900" b="0" baseline="0" noProof="1">
                <a:solidFill>
                  <a:srgbClr val="333333"/>
                </a:solidFill>
                <a:latin typeface="+mn-lt"/>
                <a:cs typeface="Verdana" panose="020B0604030504040204" pitchFamily="34" charset="0"/>
              </a:rPr>
              <a:t> in the Templafy pane on the right side of the screen</a:t>
            </a:r>
            <a:endParaRPr lang="da-DK"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da-DK"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rgbClr val="333333"/>
                </a:solidFill>
                <a:latin typeface="+mn-lt"/>
                <a:cs typeface="Verdana" panose="020B0604030504040204" pitchFamily="34" charset="0"/>
              </a:rPr>
              <a:t>Insert picture</a:t>
            </a:r>
          </a:p>
          <a:p>
            <a:pPr rtl="0" eaLnBrk="1" hangingPunct="1">
              <a:spcAft>
                <a:spcPts val="600"/>
              </a:spcAft>
              <a:defRPr/>
            </a:pPr>
            <a:r>
              <a:rPr lang="da-DK" altLang="da-DK" sz="900" b="0" noProof="1">
                <a:solidFill>
                  <a:srgbClr val="333333"/>
                </a:solidFill>
                <a:latin typeface="+mn-lt"/>
                <a:cs typeface="Verdana" panose="020B0604030504040204" pitchFamily="34" charset="0"/>
              </a:rPr>
              <a:t>On slides with pictureplaceholder, click on the icon and choose </a:t>
            </a:r>
            <a:r>
              <a:rPr lang="da-DK" altLang="da-DK" sz="900" b="1" noProof="1">
                <a:solidFill>
                  <a:srgbClr val="333333"/>
                </a:solidFill>
                <a:latin typeface="+mn-lt"/>
                <a:cs typeface="Verdana" panose="020B0604030504040204" pitchFamily="34" charset="0"/>
              </a:rPr>
              <a:t>Insert</a:t>
            </a:r>
          </a:p>
          <a:p>
            <a:pPr rtl="0" eaLnBrk="1" hangingPunct="1">
              <a:spcBef>
                <a:spcPts val="1200"/>
              </a:spcBef>
              <a:spcAft>
                <a:spcPts val="600"/>
              </a:spcAft>
              <a:defRPr/>
            </a:pPr>
            <a:r>
              <a:rPr lang="da-DK" sz="900" b="1" noProof="1">
                <a:solidFill>
                  <a:srgbClr val="333333"/>
                </a:solidFill>
                <a:latin typeface="+mn-lt"/>
                <a:cs typeface="Verdana" panose="020B0604030504040204" pitchFamily="34" charset="0"/>
              </a:rPr>
              <a:t>Crop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1. </a:t>
            </a: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Crop</a:t>
            </a:r>
            <a:r>
              <a:rPr lang="da-DK" altLang="da-DK" sz="900" b="0" noProof="1">
                <a:solidFill>
                  <a:srgbClr val="333333"/>
                </a:solidFill>
                <a:latin typeface="+mn-lt"/>
                <a:cs typeface="Verdana" panose="020B0604030504040204" pitchFamily="34" charset="0"/>
              </a:rPr>
              <a:t> to change size or focus of the picture</a:t>
            </a: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If you want to scale the picture, hold </a:t>
            </a:r>
            <a:r>
              <a:rPr lang="da-DK" altLang="da-DK" sz="900" b="1" noProof="1">
                <a:solidFill>
                  <a:srgbClr val="333333"/>
                </a:solidFill>
                <a:latin typeface="+mn-lt"/>
                <a:cs typeface="Verdana" panose="020B0604030504040204" pitchFamily="34" charset="0"/>
              </a:rPr>
              <a:t>SHIFT</a:t>
            </a:r>
            <a:r>
              <a:rPr lang="da-DK" altLang="da-DK" sz="900" b="0" noProof="1">
                <a:solidFill>
                  <a:srgbClr val="333333"/>
                </a:solidFill>
                <a:latin typeface="+mn-lt"/>
                <a:cs typeface="Verdana" panose="020B0604030504040204" pitchFamily="34" charset="0"/>
              </a:rPr>
              <a:t>-key down while dragging the corners of the picture</a:t>
            </a:r>
            <a:br>
              <a:rPr lang="da-DK" altLang="da-DK" sz="900" b="0" noProof="1">
                <a:solidFill>
                  <a:srgbClr val="333333"/>
                </a:solidFill>
                <a:latin typeface="+mn-lt"/>
                <a:cs typeface="Verdana" panose="020B0604030504040204" pitchFamily="34" charset="0"/>
              </a:rPr>
            </a:b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t>
            </a:r>
            <a:r>
              <a:rPr lang="da-DK"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da-DK"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da-DK" sz="1600">
                <a:solidFill>
                  <a:srgbClr val="333333"/>
                </a:solidFill>
                <a:latin typeface="+mn-lt"/>
                <a:cs typeface="Verdana" panose="020B0604030504040204" pitchFamily="34" charset="0"/>
              </a:rPr>
              <a:t>GUIDES</a:t>
            </a:r>
            <a:endParaRPr lang="da-DK" sz="1600" b="1"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Click the </a:t>
            </a:r>
            <a:r>
              <a:rPr lang="da-DK" altLang="da-DK" sz="900" b="1" noProof="1">
                <a:solidFill>
                  <a:srgbClr val="333333"/>
                </a:solidFill>
                <a:latin typeface="+mn-lt"/>
                <a:cs typeface="Verdana" panose="020B0604030504040204" pitchFamily="34" charset="0"/>
              </a:rPr>
              <a:t>View</a:t>
            </a:r>
            <a:r>
              <a:rPr lang="da-DK" altLang="da-DK" sz="900" b="0" noProof="1">
                <a:solidFill>
                  <a:srgbClr val="333333"/>
                </a:solidFill>
                <a:latin typeface="+mn-lt"/>
                <a:cs typeface="Verdana" panose="020B0604030504040204" pitchFamily="34" charset="0"/>
              </a:rPr>
              <a:t> tab and set tick mark next to </a:t>
            </a:r>
            <a:r>
              <a:rPr lang="da-DK" altLang="da-DK" sz="900" b="1" noProof="1">
                <a:solidFill>
                  <a:srgbClr val="333333"/>
                </a:solidFill>
                <a:latin typeface="+mn-lt"/>
                <a:cs typeface="Verdana" panose="020B0604030504040204" pitchFamily="34" charset="0"/>
              </a:rPr>
              <a:t>Guides</a:t>
            </a: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HINT: Alt + F9 </a:t>
            </a:r>
            <a:r>
              <a:rPr lang="da-DK" altLang="da-DK" sz="900" b="0" noProof="1">
                <a:solidFill>
                  <a:srgbClr val="333333"/>
                </a:solidFill>
                <a:latin typeface="+mn-lt"/>
                <a:cs typeface="Verdana" panose="020B0604030504040204" pitchFamily="34" charset="0"/>
              </a:rPr>
              <a:t>for quick view of guides</a:t>
            </a: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Mac: </a:t>
            </a:r>
            <a:r>
              <a:rPr lang="da-DK" sz="900" b="0" i="0">
                <a:solidFill>
                  <a:srgbClr val="333333"/>
                </a:solidFill>
                <a:effectLst/>
                <a:latin typeface="Verdana"/>
              </a:rPr>
              <a:t>⌘ </a:t>
            </a:r>
            <a:r>
              <a:rPr lang="da-DK"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6"/>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7"/>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8"/>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HEADER &amp; FOOTER</a:t>
            </a:r>
          </a:p>
          <a:p>
            <a:pPr rtl="0" eaLnBrk="1" hangingPunct="1">
              <a:spcAft>
                <a:spcPts val="600"/>
              </a:spcAft>
              <a:defRPr/>
            </a:pPr>
            <a:r>
              <a:rPr lang="da-DK" altLang="da-DK" sz="900" b="0" noProof="1">
                <a:solidFill>
                  <a:srgbClr val="333333"/>
                </a:solidFill>
                <a:latin typeface="+mn-lt"/>
                <a:cs typeface="Verdana" panose="020B0604030504040204" pitchFamily="34" charset="0"/>
              </a:rPr>
              <a:t>Do this at the very end to apply the changes on all slides</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on </a:t>
            </a:r>
            <a:r>
              <a:rPr lang="da-DK" altLang="da-DK" sz="900" b="1" noProof="1">
                <a:solidFill>
                  <a:srgbClr val="333333"/>
                </a:solidFill>
                <a:latin typeface="+mn-lt"/>
                <a:cs typeface="Verdana" panose="020B0604030504040204" pitchFamily="34" charset="0"/>
              </a:rPr>
              <a:t>Header and Footer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Insert</a:t>
            </a:r>
            <a:r>
              <a:rPr lang="da-DK" altLang="da-DK" sz="900" b="0" noProof="1">
                <a:solidFill>
                  <a:srgbClr val="333333"/>
                </a:solidFill>
                <a:latin typeface="+mn-lt"/>
                <a:cs typeface="Verdana" panose="020B0604030504040204" pitchFamily="34" charset="0"/>
              </a:rPr>
              <a:t> tab (write the desired text, click date or page number from or to)</a:t>
            </a:r>
          </a:p>
          <a:p>
            <a:pPr rtl="0" eaLnBrk="1" hangingPunct="1">
              <a:spcAft>
                <a:spcPts val="600"/>
              </a:spcAft>
              <a:defRPr/>
            </a:pPr>
            <a:r>
              <a:rPr lang="da-DK" altLang="da-DK" sz="900" b="0" noProof="1">
                <a:solidFill>
                  <a:srgbClr val="333333"/>
                </a:solidFill>
                <a:latin typeface="+mn-lt"/>
                <a:cs typeface="Verdana" panose="020B0604030504040204" pitchFamily="34" charset="0"/>
              </a:rPr>
              <a:t>Click </a:t>
            </a:r>
            <a:r>
              <a:rPr lang="da-DK" altLang="da-DK" sz="900" b="1" noProof="1">
                <a:solidFill>
                  <a:srgbClr val="333333"/>
                </a:solidFill>
                <a:latin typeface="+mn-lt"/>
                <a:cs typeface="Verdana" panose="020B0604030504040204" pitchFamily="34" charset="0"/>
              </a:rPr>
              <a:t>Apply to All </a:t>
            </a:r>
            <a:r>
              <a:rPr lang="da-DK" altLang="da-DK" sz="900" b="0" noProof="1">
                <a:solidFill>
                  <a:srgbClr val="333333"/>
                </a:solidFill>
                <a:latin typeface="+mn-lt"/>
                <a:cs typeface="Verdana" panose="020B0604030504040204" pitchFamily="34" charset="0"/>
              </a:rPr>
              <a:t>or </a:t>
            </a:r>
            <a:r>
              <a:rPr lang="da-DK" altLang="da-DK" sz="900" b="1" noProof="1">
                <a:solidFill>
                  <a:srgbClr val="333333"/>
                </a:solidFill>
                <a:latin typeface="+mn-lt"/>
                <a:cs typeface="Verdana" panose="020B0604030504040204" pitchFamily="34" charset="0"/>
              </a:rPr>
              <a:t>Apply</a:t>
            </a:r>
            <a:r>
              <a:rPr lang="da-DK" altLang="da-DK" sz="900" b="0" noProof="1">
                <a:solidFill>
                  <a:srgbClr val="333333"/>
                </a:solidFill>
                <a:latin typeface="+mn-lt"/>
                <a:cs typeface="Verdana" panose="020B0604030504040204" pitchFamily="34" charset="0"/>
              </a:rPr>
              <a:t> if only used on one slide</a:t>
            </a: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rtl="0" eaLnBrk="1" hangingPunct="1">
              <a:spcAft>
                <a:spcPts val="600"/>
              </a:spcAft>
              <a:defRPr/>
            </a:pPr>
            <a:r>
              <a:rPr lang="da-DK" altLang="da-DK" sz="1600" b="0" noProof="1">
                <a:solidFill>
                  <a:srgbClr val="333333"/>
                </a:solidFill>
                <a:latin typeface="+mn-lt"/>
                <a:cs typeface="Verdana" panose="020B0604030504040204" pitchFamily="34" charset="0"/>
              </a:rPr>
              <a:t>COPY/PASTE CONTENT</a:t>
            </a:r>
          </a:p>
          <a:p>
            <a:pPr rtl="0" eaLnBrk="1" hangingPunct="1">
              <a:spcAft>
                <a:spcPts val="600"/>
              </a:spcAft>
              <a:defRPr/>
            </a:pPr>
            <a:r>
              <a:rPr lang="da-DK" altLang="da-DK" sz="900" b="0" noProof="1">
                <a:solidFill>
                  <a:srgbClr val="333333"/>
                </a:solidFill>
                <a:latin typeface="+mn-lt"/>
                <a:cs typeface="Verdana" panose="020B0604030504040204" pitchFamily="34" charset="0"/>
              </a:rPr>
              <a:t>When copying old content to your new presentation, 2 options are available:</a:t>
            </a:r>
          </a:p>
          <a:p>
            <a:pPr rtl="0" eaLnBrk="1" hangingPunct="1">
              <a:spcAft>
                <a:spcPts val="600"/>
              </a:spcAft>
              <a:defRPr/>
            </a:pPr>
            <a:r>
              <a:rPr lang="da-DK" altLang="da-DK" sz="900" b="1" noProof="1">
                <a:solidFill>
                  <a:srgbClr val="333333"/>
                </a:solidFill>
                <a:latin typeface="+mn-lt"/>
                <a:cs typeface="Verdana" panose="020B0604030504040204" pitchFamily="34" charset="0"/>
              </a:rPr>
              <a:t>1. Best practice: </a:t>
            </a:r>
            <a:r>
              <a:rPr lang="da-DK" altLang="da-DK" sz="900" b="0" noProof="1">
                <a:solidFill>
                  <a:srgbClr val="333333"/>
                </a:solidFill>
                <a:latin typeface="+mn-lt"/>
                <a:cs typeface="Verdana" panose="020B0604030504040204" pitchFamily="34" charset="0"/>
              </a:rPr>
              <a:t>Create a slide in your new presentation and copy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piece of content at a time (e.g. copy all text from </a:t>
            </a:r>
            <a:r>
              <a:rPr lang="da-DK" altLang="da-DK" sz="900" b="0" i="0" u="sng" noProof="1">
                <a:solidFill>
                  <a:srgbClr val="333333"/>
                </a:solidFill>
                <a:latin typeface="+mn-lt"/>
                <a:cs typeface="Verdana" panose="020B0604030504040204" pitchFamily="34" charset="0"/>
              </a:rPr>
              <a:t>one</a:t>
            </a:r>
            <a:r>
              <a:rPr lang="da-DK" altLang="da-DK" sz="900" b="0" i="0" u="none" noProof="1">
                <a:solidFill>
                  <a:srgbClr val="333333"/>
                </a:solidFill>
                <a:latin typeface="+mn-lt"/>
                <a:cs typeface="Verdana" panose="020B0604030504040204" pitchFamily="34" charset="0"/>
              </a:rPr>
              <a:t> textbox)</a:t>
            </a:r>
            <a:endParaRPr lang="da-DK" altLang="da-DK" sz="900" b="1" i="0" u="sng" noProof="1">
              <a:solidFill>
                <a:srgbClr val="333333"/>
              </a:solidFill>
              <a:latin typeface="+mn-lt"/>
              <a:cs typeface="Verdana" panose="020B0604030504040204" pitchFamily="34" charset="0"/>
            </a:endParaRPr>
          </a:p>
          <a:p>
            <a:pPr rtl="0" eaLnBrk="1" hangingPunct="1">
              <a:spcAft>
                <a:spcPts val="600"/>
              </a:spcAft>
              <a:defRPr/>
            </a:pPr>
            <a:r>
              <a:rPr lang="da-DK" altLang="da-DK" sz="900" b="1" noProof="1">
                <a:solidFill>
                  <a:srgbClr val="333333"/>
                </a:solidFill>
                <a:latin typeface="+mn-lt"/>
                <a:cs typeface="Verdana" panose="020B0604030504040204" pitchFamily="34" charset="0"/>
              </a:rPr>
              <a:t>2. </a:t>
            </a:r>
            <a:r>
              <a:rPr lang="da-DK"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da-DK" altLang="da-DK" sz="900" b="1" noProof="1">
              <a:solidFill>
                <a:srgbClr val="333333"/>
              </a:solidFill>
              <a:latin typeface="+mn-lt"/>
              <a:cs typeface="Verdana" panose="020B0604030504040204" pitchFamily="34" charset="0"/>
            </a:endParaRPr>
          </a:p>
          <a:p>
            <a:pPr rtl="0" eaLnBrk="1" hangingPunct="1">
              <a:spcAft>
                <a:spcPts val="600"/>
              </a:spcAft>
              <a:defRPr/>
            </a:pPr>
            <a:endParaRPr lang="da-DK"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Insert predefined slides and elements from the Templafy button. Choose </a:t>
            </a:r>
            <a:r>
              <a:rPr lang="da-DK" altLang="da-DK" sz="900" b="1" noProof="1">
                <a:solidFill>
                  <a:srgbClr val="333333"/>
                </a:solidFill>
                <a:latin typeface="+mn-lt"/>
                <a:cs typeface="Verdana" panose="020B0604030504040204" pitchFamily="34" charset="0"/>
              </a:rPr>
              <a:t>Slides</a:t>
            </a:r>
            <a:r>
              <a:rPr lang="da-DK" altLang="da-DK" sz="900" b="0" noProof="1">
                <a:solidFill>
                  <a:srgbClr val="333333"/>
                </a:solidFill>
                <a:latin typeface="+mn-lt"/>
                <a:cs typeface="Verdana" panose="020B0604030504040204" pitchFamily="34" charset="0"/>
              </a:rPr>
              <a:t> and </a:t>
            </a:r>
            <a:r>
              <a:rPr lang="da-DK" altLang="da-DK" sz="900" b="1" noProof="1">
                <a:solidFill>
                  <a:srgbClr val="333333"/>
                </a:solidFill>
                <a:latin typeface="+mn-lt"/>
                <a:cs typeface="Verdana" panose="020B0604030504040204" pitchFamily="34" charset="0"/>
              </a:rPr>
              <a:t>Slide elements </a:t>
            </a:r>
            <a:r>
              <a:rPr lang="da-DK"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da-DK"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pPr rtl="0"/>
            <a:r>
              <a:rPr lang="da-DK"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9"/>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rtl="0">
              <a:defRPr sz="100">
                <a:noFill/>
              </a:defRPr>
            </a:lvl1pPr>
          </a:lstStyle>
          <a:p>
            <a:fld id="{A5B220B3-5DAB-45AB-9B6A-9B7C36B5A57F}" type="datetime1">
              <a:rPr lang="da-DK" smtClean="0"/>
              <a:pPr/>
              <a:t>18.06.2024</a:t>
            </a:fld>
            <a:endParaRPr lang="da-DK"/>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10"/>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solidFill>
                  <a:srgbClr val="333333"/>
                </a:solidFill>
                <a:latin typeface="+mn-lt"/>
                <a:cs typeface="Verdana" panose="020B0604030504040204" pitchFamily="34" charset="0"/>
              </a:rPr>
              <a:t>TEXT STYLES</a:t>
            </a:r>
            <a:endParaRPr lang="da-DK" altLang="da-DK" sz="1600" b="0" noProof="1">
              <a:solidFill>
                <a:srgbClr val="333333"/>
              </a:solidFill>
              <a:latin typeface="+mn-lt"/>
              <a:cs typeface="Verdana" panose="020B0604030504040204" pitchFamily="34" charset="0"/>
            </a:endParaRPr>
          </a:p>
          <a:p>
            <a:pPr rtl="0" eaLnBrk="1" hangingPunct="1">
              <a:spcAft>
                <a:spcPts val="600"/>
              </a:spcAft>
              <a:defRPr/>
            </a:pPr>
            <a:r>
              <a:rPr lang="da-DK" altLang="da-DK" sz="900" b="0" noProof="1">
                <a:solidFill>
                  <a:srgbClr val="333333"/>
                </a:solidFill>
                <a:latin typeface="+mn-lt"/>
                <a:cs typeface="Verdana" panose="020B0604030504040204" pitchFamily="34" charset="0"/>
              </a:rPr>
              <a:t>Use the </a:t>
            </a:r>
            <a:r>
              <a:rPr lang="da-DK" altLang="da-DK" sz="900" b="1" noProof="1">
                <a:solidFill>
                  <a:srgbClr val="333333"/>
                </a:solidFill>
                <a:latin typeface="+mn-lt"/>
                <a:cs typeface="Verdana" panose="020B0604030504040204" pitchFamily="34" charset="0"/>
              </a:rPr>
              <a:t>TAB</a:t>
            </a:r>
            <a:r>
              <a:rPr lang="da-DK" altLang="da-DK" sz="900" b="0" noProof="1">
                <a:solidFill>
                  <a:srgbClr val="333333"/>
                </a:solidFill>
                <a:latin typeface="+mn-lt"/>
                <a:cs typeface="Verdana" panose="020B0604030504040204" pitchFamily="34" charset="0"/>
              </a:rPr>
              <a:t>-key</a:t>
            </a:r>
            <a:r>
              <a:rPr lang="da-DK" altLang="da-DK" sz="900" b="0" baseline="0" noProof="1">
                <a:solidFill>
                  <a:srgbClr val="333333"/>
                </a:solidFill>
                <a:latin typeface="+mn-lt"/>
                <a:cs typeface="Verdana" panose="020B0604030504040204" pitchFamily="34" charset="0"/>
              </a:rPr>
              <a:t> to jump through levels. Click </a:t>
            </a:r>
            <a:r>
              <a:rPr lang="da-DK" altLang="da-DK" sz="900" b="1" baseline="0" noProof="1">
                <a:solidFill>
                  <a:srgbClr val="333333"/>
                </a:solidFill>
                <a:latin typeface="+mn-lt"/>
                <a:cs typeface="Verdana" panose="020B0604030504040204" pitchFamily="34" charset="0"/>
              </a:rPr>
              <a:t>ENTER</a:t>
            </a:r>
            <a:r>
              <a:rPr lang="da-DK" altLang="da-DK" sz="900" b="0" baseline="0" noProof="1">
                <a:solidFill>
                  <a:srgbClr val="333333"/>
                </a:solidFill>
                <a:latin typeface="+mn-lt"/>
                <a:cs typeface="Verdana" panose="020B0604030504040204" pitchFamily="34" charset="0"/>
              </a:rPr>
              <a:t>, then </a:t>
            </a:r>
            <a:r>
              <a:rPr lang="da-DK" altLang="da-DK" sz="900" b="1" baseline="0" noProof="1">
                <a:solidFill>
                  <a:srgbClr val="333333"/>
                </a:solidFill>
                <a:latin typeface="+mn-lt"/>
                <a:cs typeface="Verdana" panose="020B0604030504040204" pitchFamily="34" charset="0"/>
              </a:rPr>
              <a:t>TAB</a:t>
            </a:r>
            <a:r>
              <a:rPr lang="da-DK" altLang="da-DK" sz="900" b="0" baseline="0" noProof="1">
                <a:solidFill>
                  <a:srgbClr val="333333"/>
                </a:solidFill>
                <a:latin typeface="+mn-lt"/>
                <a:cs typeface="Verdana" panose="020B0604030504040204" pitchFamily="34" charset="0"/>
              </a:rPr>
              <a:t> to switch from one level to the next level</a:t>
            </a:r>
          </a:p>
          <a:p>
            <a:pPr rtl="0" eaLnBrk="1" hangingPunct="1">
              <a:spcAft>
                <a:spcPts val="600"/>
              </a:spcAft>
              <a:defRPr/>
            </a:pPr>
            <a:r>
              <a:rPr lang="da-DK" altLang="da-DK" sz="900" b="0" baseline="0" noProof="1">
                <a:solidFill>
                  <a:srgbClr val="333333"/>
                </a:solidFill>
                <a:latin typeface="+mn-lt"/>
                <a:cs typeface="Verdana" panose="020B0604030504040204" pitchFamily="34" charset="0"/>
              </a:rPr>
              <a:t>To go back in levels use </a:t>
            </a:r>
            <a:r>
              <a:rPr lang="da-DK" altLang="da-DK" sz="900" b="1" baseline="0" noProof="1">
                <a:solidFill>
                  <a:srgbClr val="333333"/>
                </a:solidFill>
                <a:latin typeface="+mn-lt"/>
                <a:cs typeface="Verdana" panose="020B0604030504040204" pitchFamily="34" charset="0"/>
              </a:rPr>
              <a:t>SHIFT-TAB</a:t>
            </a:r>
            <a:endParaRPr lang="da-DK" sz="900" b="1" noProof="1">
              <a:solidFill>
                <a:srgbClr val="333333"/>
              </a:solidFill>
              <a:latin typeface="+mn-lt"/>
              <a:cs typeface="Verdana" panose="020B0604030504040204" pitchFamily="34" charset="0"/>
            </a:endParaRPr>
          </a:p>
          <a:p>
            <a:pPr rtl="0" eaLnBrk="1" hangingPunct="1">
              <a:spcAft>
                <a:spcPts val="600"/>
              </a:spcAft>
              <a:defRPr/>
            </a:pPr>
            <a:r>
              <a:rPr lang="da-DK" sz="900" noProof="1">
                <a:solidFill>
                  <a:srgbClr val="333333"/>
                </a:solidFill>
                <a:latin typeface="+mn-lt"/>
                <a:cs typeface="Verdana" panose="020B0604030504040204" pitchFamily="34" charset="0"/>
              </a:rPr>
              <a:t>Alternatively, </a:t>
            </a:r>
            <a:r>
              <a:rPr lang="da-DK" sz="900" b="1" noProof="1">
                <a:solidFill>
                  <a:srgbClr val="333333"/>
                </a:solidFill>
                <a:latin typeface="+mn-lt"/>
                <a:cs typeface="Verdana" panose="020B0604030504040204" pitchFamily="34" charset="0"/>
              </a:rPr>
              <a:t>Increase</a:t>
            </a:r>
            <a:r>
              <a:rPr lang="da-DK" sz="900" baseline="0" noProof="1">
                <a:solidFill>
                  <a:srgbClr val="333333"/>
                </a:solidFill>
                <a:latin typeface="+mn-lt"/>
                <a:cs typeface="Verdana" panose="020B0604030504040204" pitchFamily="34" charset="0"/>
              </a:rPr>
              <a:t> and </a:t>
            </a:r>
            <a:r>
              <a:rPr lang="da-DK" sz="900" b="1" baseline="0" noProof="1">
                <a:solidFill>
                  <a:srgbClr val="333333"/>
                </a:solidFill>
                <a:latin typeface="+mn-lt"/>
                <a:cs typeface="Verdana" panose="020B0604030504040204" pitchFamily="34" charset="0"/>
              </a:rPr>
              <a:t>Decrease </a:t>
            </a:r>
            <a:r>
              <a:rPr lang="da-DK" sz="900" baseline="0" noProof="1">
                <a:solidFill>
                  <a:srgbClr val="333333"/>
                </a:solidFill>
                <a:latin typeface="+mn-lt"/>
                <a:cs typeface="Verdana" panose="020B0604030504040204" pitchFamily="34" charset="0"/>
              </a:rPr>
              <a:t>list level can be used</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noProof="1">
                <a:solidFill>
                  <a:srgbClr val="333333"/>
                </a:solidFill>
                <a:latin typeface="+mn-lt"/>
                <a:cs typeface="Verdana" panose="020B0604030504040204" pitchFamily="34" charset="0"/>
              </a:rPr>
              <a:t>Click the </a:t>
            </a:r>
            <a:r>
              <a:rPr lang="da-DK" altLang="da-DK" sz="900" b="1" baseline="0" noProof="1">
                <a:solidFill>
                  <a:srgbClr val="333333"/>
                </a:solidFill>
                <a:latin typeface="+mn-lt"/>
                <a:cs typeface="Verdana" panose="020B0604030504040204" pitchFamily="34" charset="0"/>
              </a:rPr>
              <a:t>Reset </a:t>
            </a:r>
            <a:r>
              <a:rPr lang="da-DK" altLang="da-DK" sz="900" noProof="1">
                <a:solidFill>
                  <a:srgbClr val="333333"/>
                </a:solidFill>
                <a:latin typeface="+mn-lt"/>
                <a:cs typeface="Verdana" panose="020B0604030504040204" pitchFamily="34" charset="0"/>
              </a:rPr>
              <a:t>menu to reset position, size</a:t>
            </a:r>
            <a:r>
              <a:rPr lang="da-DK"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900" b="0" noProof="1">
                <a:solidFill>
                  <a:srgbClr val="333333"/>
                </a:solidFill>
                <a:latin typeface="+mn-lt"/>
                <a:cs typeface="Verdana" panose="020B0604030504040204" pitchFamily="34" charset="0"/>
              </a:rPr>
            </a:br>
            <a:r>
              <a:rPr lang="da-DK"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Click on the menu </a:t>
            </a:r>
            <a:r>
              <a:rPr lang="da-DK" altLang="da-DK" sz="900" b="1" noProof="1">
                <a:solidFill>
                  <a:srgbClr val="333333"/>
                </a:solidFill>
                <a:latin typeface="+mn-lt"/>
                <a:cs typeface="Verdana" panose="020B0604030504040204" pitchFamily="34" charset="0"/>
              </a:rPr>
              <a:t>New Slide </a:t>
            </a:r>
            <a:r>
              <a:rPr lang="da-DK" altLang="da-DK" sz="900" b="0" noProof="1">
                <a:solidFill>
                  <a:srgbClr val="333333"/>
                </a:solidFill>
                <a:latin typeface="+mn-lt"/>
                <a:cs typeface="Verdana" panose="020B0604030504040204" pitchFamily="34" charset="0"/>
              </a:rPr>
              <a:t>in the </a:t>
            </a:r>
            <a:r>
              <a:rPr lang="da-DK" altLang="da-DK" sz="900" b="1" noProof="1">
                <a:solidFill>
                  <a:srgbClr val="333333"/>
                </a:solidFill>
                <a:latin typeface="+mn-lt"/>
                <a:cs typeface="Verdana" panose="020B0604030504040204" pitchFamily="34" charset="0"/>
              </a:rPr>
              <a:t>Home</a:t>
            </a:r>
            <a:r>
              <a:rPr lang="da-DK" altLang="da-DK" sz="900" b="0" noProof="1">
                <a:solidFill>
                  <a:srgbClr val="333333"/>
                </a:solidFill>
                <a:latin typeface="+mn-lt"/>
                <a:cs typeface="Verdana" panose="020B0604030504040204" pitchFamily="34" charset="0"/>
              </a:rPr>
              <a:t> tab to insert a new slide</a:t>
            </a:r>
            <a:br>
              <a:rPr lang="da-DK" altLang="da-DK" sz="900" b="0" noProof="1">
                <a:solidFill>
                  <a:srgbClr val="333333"/>
                </a:solidFill>
                <a:latin typeface="+mn-lt"/>
                <a:cs typeface="Verdana" panose="020B0604030504040204" pitchFamily="34" charset="0"/>
              </a:rPr>
            </a:br>
            <a:br>
              <a:rPr lang="da-DK" altLang="da-DK" sz="900" b="0" noProof="1">
                <a:solidFill>
                  <a:srgbClr val="333333"/>
                </a:solidFill>
                <a:latin typeface="+mn-lt"/>
                <a:cs typeface="Verdana" panose="020B0604030504040204" pitchFamily="34" charset="0"/>
              </a:rPr>
            </a:br>
            <a:r>
              <a:rPr lang="da-DK" altLang="da-DK" sz="900" b="1" noProof="1">
                <a:solidFill>
                  <a:srgbClr val="333333"/>
                </a:solidFill>
                <a:latin typeface="+mn-lt"/>
                <a:cs typeface="Verdana" panose="020B0604030504040204" pitchFamily="34" charset="0"/>
              </a:rPr>
              <a:t>Change layout</a:t>
            </a:r>
            <a:endParaRPr lang="da-DK" altLang="da-DK" sz="900" b="0" noProof="1">
              <a:solidFill>
                <a:srgbClr val="333333"/>
              </a:solidFill>
              <a:latin typeface="+mn-lt"/>
              <a:cs typeface="Verdana" panose="020B0604030504040204" pitchFamily="34" charset="0"/>
            </a:endParaRPr>
          </a:p>
          <a:p>
            <a:pPr marL="0" indent="0" rtl="0">
              <a:spcAft>
                <a:spcPts val="600"/>
              </a:spcAft>
              <a:buFont typeface="+mj-lt"/>
              <a:buNone/>
            </a:pPr>
            <a:r>
              <a:rPr lang="da-DK" sz="900" err="1">
                <a:solidFill>
                  <a:srgbClr val="333333"/>
                </a:solidFill>
                <a:latin typeface="+mn-lt"/>
                <a:ea typeface="Verdana" panose="020B0604030504040204" pitchFamily="34" charset="0"/>
              </a:rPr>
              <a:t>Click</a:t>
            </a:r>
            <a:r>
              <a:rPr lang="da-DK" sz="900">
                <a:solidFill>
                  <a:srgbClr val="333333"/>
                </a:solidFill>
                <a:latin typeface="+mn-lt"/>
                <a:ea typeface="Verdana" panose="020B0604030504040204" pitchFamily="34" charset="0"/>
              </a:rPr>
              <a:t> on the </a:t>
            </a:r>
            <a:r>
              <a:rPr lang="da-DK" sz="900" err="1">
                <a:solidFill>
                  <a:srgbClr val="333333"/>
                </a:solidFill>
                <a:latin typeface="+mn-lt"/>
                <a:ea typeface="Verdana" panose="020B0604030504040204" pitchFamily="34" charset="0"/>
              </a:rPr>
              <a:t>arrow</a:t>
            </a:r>
            <a:r>
              <a:rPr lang="da-DK" sz="900">
                <a:solidFill>
                  <a:srgbClr val="333333"/>
                </a:solidFill>
                <a:latin typeface="+mn-lt"/>
                <a:ea typeface="Verdana" panose="020B0604030504040204" pitchFamily="34" charset="0"/>
              </a:rPr>
              <a:t> </a:t>
            </a:r>
            <a:r>
              <a:rPr lang="da-DK" sz="900" err="1">
                <a:solidFill>
                  <a:srgbClr val="333333"/>
                </a:solidFill>
                <a:latin typeface="+mn-lt"/>
                <a:ea typeface="Verdana" panose="020B0604030504040204" pitchFamily="34" charset="0"/>
              </a:rPr>
              <a:t>next</a:t>
            </a:r>
            <a:r>
              <a:rPr lang="da-DK" sz="900">
                <a:solidFill>
                  <a:srgbClr val="333333"/>
                </a:solidFill>
                <a:latin typeface="+mn-lt"/>
                <a:ea typeface="Verdana" panose="020B0604030504040204" pitchFamily="34" charset="0"/>
              </a:rPr>
              <a:t> to </a:t>
            </a:r>
            <a:r>
              <a:rPr lang="da-DK" sz="900" b="1">
                <a:solidFill>
                  <a:srgbClr val="333333"/>
                </a:solidFill>
                <a:latin typeface="+mn-lt"/>
                <a:ea typeface="Verdana" panose="020B0604030504040204" pitchFamily="34" charset="0"/>
              </a:rPr>
              <a:t>Layout </a:t>
            </a:r>
            <a:r>
              <a:rPr lang="da-DK" sz="900">
                <a:solidFill>
                  <a:srgbClr val="333333"/>
                </a:solidFill>
                <a:latin typeface="+mn-lt"/>
                <a:ea typeface="Verdana" panose="020B0604030504040204" pitchFamily="34" charset="0"/>
              </a:rPr>
              <a:t>to view a </a:t>
            </a:r>
            <a:r>
              <a:rPr lang="da-DK" sz="900" err="1">
                <a:solidFill>
                  <a:srgbClr val="333333"/>
                </a:solidFill>
                <a:latin typeface="+mn-lt"/>
                <a:ea typeface="Verdana" panose="020B0604030504040204" pitchFamily="34" charset="0"/>
              </a:rPr>
              <a:t>dropdown</a:t>
            </a:r>
            <a:r>
              <a:rPr lang="da-DK" sz="900">
                <a:solidFill>
                  <a:srgbClr val="333333"/>
                </a:solidFill>
                <a:latin typeface="+mn-lt"/>
                <a:ea typeface="Verdana" panose="020B0604030504040204" pitchFamily="34" charset="0"/>
              </a:rPr>
              <a:t> menu of </a:t>
            </a:r>
            <a:r>
              <a:rPr lang="da-DK" sz="900" err="1">
                <a:solidFill>
                  <a:srgbClr val="333333"/>
                </a:solidFill>
                <a:latin typeface="+mn-lt"/>
                <a:ea typeface="Verdana" panose="020B0604030504040204" pitchFamily="34" charset="0"/>
              </a:rPr>
              <a:t>possible</a:t>
            </a:r>
            <a:r>
              <a:rPr lang="da-DK" sz="900">
                <a:solidFill>
                  <a:srgbClr val="333333"/>
                </a:solidFill>
                <a:latin typeface="+mn-lt"/>
                <a:ea typeface="Verdana" panose="020B0604030504040204" pitchFamily="34" charset="0"/>
              </a:rPr>
              <a:t> slide layouts</a:t>
            </a:r>
          </a:p>
          <a:p>
            <a:pPr marL="0" indent="0" rtl="0">
              <a:spcAft>
                <a:spcPts val="600"/>
              </a:spcAft>
              <a:buFont typeface="+mj-lt"/>
              <a:buNone/>
            </a:pPr>
            <a:endParaRPr lang="da-DK"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err="1">
                <a:solidFill>
                  <a:srgbClr val="333333"/>
                </a:solidFill>
                <a:latin typeface="+mn-lt"/>
                <a:cs typeface="Verdana" panose="020B0604030504040204" pitchFamily="34" charset="0"/>
              </a:rPr>
              <a:t>Color</a:t>
            </a:r>
            <a:endParaRPr lang="da-DK" sz="1600">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rgbClr val="333333"/>
                </a:solidFill>
                <a:latin typeface="+mn-lt"/>
                <a:cs typeface="Verdana" panose="020B0604030504040204" pitchFamily="34" charset="0"/>
              </a:rPr>
              <a:t>Use </a:t>
            </a:r>
            <a:r>
              <a:rPr lang="da-DK" altLang="da-DK" sz="900" b="1" noProof="1">
                <a:solidFill>
                  <a:srgbClr val="333333"/>
                </a:solidFill>
                <a:latin typeface="+mn-lt"/>
                <a:cs typeface="Verdana" panose="020B0604030504040204" pitchFamily="34" charset="0"/>
              </a:rPr>
              <a:t>Custom Colors </a:t>
            </a:r>
            <a:r>
              <a:rPr lang="da-DK" altLang="da-DK" sz="900" b="0" noProof="1">
                <a:solidFill>
                  <a:srgbClr val="333333"/>
                </a:solidFill>
                <a:latin typeface="+mn-lt"/>
                <a:cs typeface="Verdana" panose="020B0604030504040204" pitchFamily="34" charset="0"/>
              </a:rPr>
              <a:t>to change color.</a:t>
            </a:r>
            <a:br>
              <a:rPr lang="da-DK" altLang="da-DK" sz="900" b="0" noProof="1">
                <a:solidFill>
                  <a:srgbClr val="333333"/>
                </a:solidFill>
                <a:latin typeface="+mn-lt"/>
                <a:cs typeface="Verdana" panose="020B0604030504040204" pitchFamily="34" charset="0"/>
              </a:rPr>
            </a:br>
            <a:endParaRPr lang="da-DK"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12"/>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3"/>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4"/>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5"/>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54368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E737EA-FF19-401F-A092-0F59822D928A}"/>
              </a:ext>
            </a:extLst>
          </p:cNvPr>
          <p:cNvGraphicFramePr>
            <a:graphicFrameLocks noChangeAspect="1"/>
          </p:cNvGraphicFramePr>
          <p:nvPr userDrawn="1">
            <p:custDataLst>
              <p:tags r:id="rId1"/>
            </p:custDataLst>
            <p:extLst>
              <p:ext uri="{D42A27DB-BD31-4B8C-83A1-F6EECF244321}">
                <p14:modId xmlns:p14="http://schemas.microsoft.com/office/powerpoint/2010/main" val="185704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D3E737EA-FF19-401F-A092-0F59822D92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4000" b="0" noProof="0">
                <a:solidFill>
                  <a:schemeClr val="tx1"/>
                </a:solidFill>
              </a:rPr>
              <a:t>If you see any </a:t>
            </a:r>
            <a:r>
              <a:rPr lang="da-DK" sz="4000" b="1" i="1" noProof="0">
                <a:solidFill>
                  <a:schemeClr val="tx1"/>
                </a:solidFill>
              </a:rPr>
              <a:t>layouts after this </a:t>
            </a:r>
            <a:r>
              <a:rPr lang="da-DK" sz="4000" b="0" i="0" noProof="0">
                <a:solidFill>
                  <a:schemeClr val="tx1"/>
                </a:solidFill>
              </a:rPr>
              <a:t>one</a:t>
            </a:r>
            <a:r>
              <a:rPr lang="da-DK" sz="4000" b="1" i="1" noProof="0">
                <a:solidFill>
                  <a:schemeClr val="tx1"/>
                </a:solidFill>
              </a:rPr>
              <a:t>,</a:t>
            </a:r>
            <a:br>
              <a:rPr lang="da-DK" sz="4000" b="0" i="0" noProof="0">
                <a:solidFill>
                  <a:schemeClr val="tx1"/>
                </a:solidFill>
              </a:rPr>
            </a:br>
            <a:r>
              <a:rPr lang="da-DK" sz="4000" b="0" noProof="0">
                <a:solidFill>
                  <a:schemeClr val="tx1"/>
                </a:solidFill>
              </a:rPr>
              <a:t>do not use them. These layouts </a:t>
            </a:r>
            <a:r>
              <a:rPr lang="da-DK" sz="4000" b="1" i="1" u="none" noProof="0">
                <a:solidFill>
                  <a:schemeClr val="tx1"/>
                </a:solidFill>
              </a:rPr>
              <a:t>are not </a:t>
            </a:r>
            <a:r>
              <a:rPr lang="da-DK" sz="4000" b="0" noProof="0">
                <a:solidFill>
                  <a:schemeClr val="tx1"/>
                </a:solidFill>
              </a:rPr>
              <a:t>part of our corporate template.</a:t>
            </a:r>
            <a:endParaRPr lang="da-DK"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a:spcBef>
                  <a:spcPts val="600"/>
                </a:spcBef>
                <a:buClr>
                  <a:srgbClr val="003755"/>
                </a:buClr>
              </a:pPr>
              <a:endParaRPr lang="da-DK"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rtl="0"/>
            <a:r>
              <a:rPr lang="da-DK" sz="11500" b="1" i="1" noProof="0">
                <a:solidFill>
                  <a:schemeClr val="tx1"/>
                </a:solidFill>
              </a:rPr>
              <a:t>Do not use </a:t>
            </a:r>
            <a:endParaRPr lang="da-DK"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Due to PowerPoint’s standard Copy/Paste functionality extra undesirable layouts can appear.</a:t>
            </a:r>
          </a:p>
          <a:p>
            <a:pPr marL="0" marR="0" indent="0" algn="ctr" rtl="0" fontAlgn="auto">
              <a:lnSpc>
                <a:spcPct val="100000"/>
              </a:lnSpc>
              <a:spcBef>
                <a:spcPts val="600"/>
              </a:spcBef>
              <a:spcAft>
                <a:spcPts val="0"/>
              </a:spcAft>
              <a:buClr>
                <a:srgbClr val="003755"/>
              </a:buClr>
              <a:buSzTx/>
              <a:buFontTx/>
              <a:buNone/>
              <a:tabLst/>
            </a:pPr>
            <a:r>
              <a:rPr lang="da-DK"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rtl="0">
              <a:defRPr sz="100">
                <a:noFill/>
              </a:defRPr>
            </a:lvl1pPr>
          </a:lstStyle>
          <a:p>
            <a:fld id="{06357EC7-0D53-4A60-9E41-D75A47B48389}" type="datetime1">
              <a:rPr lang="da-DK" smtClean="0"/>
              <a:pPr/>
              <a:t>18.06.2024</a:t>
            </a:fld>
            <a:endParaRPr lang="da-DK"/>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129834854"/>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989A8E-FDC6-4CFE-9DCA-F8A156018290}"/>
              </a:ext>
            </a:extLst>
          </p:cNvPr>
          <p:cNvGraphicFramePr>
            <a:graphicFrameLocks noChangeAspect="1"/>
          </p:cNvGraphicFramePr>
          <p:nvPr userDrawn="1">
            <p:custDataLst>
              <p:tags r:id="rId1"/>
            </p:custDataLst>
            <p:extLst>
              <p:ext uri="{D42A27DB-BD31-4B8C-83A1-F6EECF244321}">
                <p14:modId xmlns:p14="http://schemas.microsoft.com/office/powerpoint/2010/main" val="368096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9F989A8E-FDC6-4CFE-9DCA-F8A1560182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D1903C8B-6A03-40C4-AD50-AACDEC5FDA0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vert="horz" anchor="t" anchorCtr="0"/>
          <a:lstStyle>
            <a:lvl1pPr algn="l" rtl="0">
              <a:lnSpc>
                <a:spcPct val="91000"/>
              </a:lnSpc>
              <a:defRPr sz="3600">
                <a:solidFill>
                  <a:schemeClr val="bg1"/>
                </a:solidFill>
              </a:defRPr>
            </a:lvl1pPr>
          </a:lstStyle>
          <a:p>
            <a:r>
              <a:rPr lang="da-DK"/>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362266794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54B3C9-F00B-4DA0-A35A-016D662582F0}"/>
              </a:ext>
            </a:extLst>
          </p:cNvPr>
          <p:cNvGraphicFramePr>
            <a:graphicFrameLocks noChangeAspect="1"/>
          </p:cNvGraphicFramePr>
          <p:nvPr userDrawn="1">
            <p:custDataLst>
              <p:tags r:id="rId1"/>
            </p:custDataLst>
            <p:extLst>
              <p:ext uri="{D42A27DB-BD31-4B8C-83A1-F6EECF244321}">
                <p14:modId xmlns:p14="http://schemas.microsoft.com/office/powerpoint/2010/main" val="3258962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954B3C9-F00B-4DA0-A35A-016D662582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1B42BF88-9EAB-4FF1-8C7D-3D1A57D94546}"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358049231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1BF513-A764-4213-B6C8-45BD92F0582C}"/>
              </a:ext>
            </a:extLst>
          </p:cNvPr>
          <p:cNvGraphicFramePr>
            <a:graphicFrameLocks noChangeAspect="1"/>
          </p:cNvGraphicFramePr>
          <p:nvPr userDrawn="1">
            <p:custDataLst>
              <p:tags r:id="rId1"/>
            </p:custDataLst>
            <p:extLst>
              <p:ext uri="{D42A27DB-BD31-4B8C-83A1-F6EECF244321}">
                <p14:modId xmlns:p14="http://schemas.microsoft.com/office/powerpoint/2010/main" val="338286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11BF513-A764-4213-B6C8-45BD92F0582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ED06D66A-00D9-479B-9856-27577BF36107}"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vert="horz" anchor="t" anchorCtr="0"/>
          <a:lstStyle>
            <a:lvl1pPr algn="l" rtl="0">
              <a:lnSpc>
                <a:spcPct val="91000"/>
              </a:lnSpc>
              <a:defRPr sz="4100">
                <a:solidFill>
                  <a:schemeClr val="bg1"/>
                </a:solidFill>
              </a:defRPr>
            </a:lvl1pPr>
          </a:lstStyle>
          <a:p>
            <a:r>
              <a:rPr lang="da-DK"/>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56481107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615D26-BD1B-485E-81BA-C5A949306F15}"/>
              </a:ext>
            </a:extLst>
          </p:cNvPr>
          <p:cNvGraphicFramePr>
            <a:graphicFrameLocks noChangeAspect="1"/>
          </p:cNvGraphicFramePr>
          <p:nvPr userDrawn="1">
            <p:custDataLst>
              <p:tags r:id="rId1"/>
            </p:custDataLst>
            <p:extLst>
              <p:ext uri="{D42A27DB-BD31-4B8C-83A1-F6EECF244321}">
                <p14:modId xmlns:p14="http://schemas.microsoft.com/office/powerpoint/2010/main" val="100521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2615D26-BD1B-485E-81BA-C5A949306F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2D3E1E10-4E6B-4C9C-B68B-DC96BC56ABF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rtl="0">
              <a:spcAft>
                <a:spcPts val="0"/>
              </a:spcAft>
              <a:buNone/>
              <a:defRPr sz="1600"/>
            </a:lvl1pPr>
          </a:lstStyle>
          <a:p>
            <a:r>
              <a:rPr lang="da-DK" noProof="0"/>
              <a:t>Mark placeholder to insert image </a:t>
            </a:r>
            <a:r>
              <a:rPr lang="da-DK"/>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vert="horz" anchor="t" anchorCtr="0"/>
          <a:lstStyle>
            <a:lvl1pPr algn="l" rtl="0">
              <a:lnSpc>
                <a:spcPct val="91000"/>
              </a:lnSpc>
              <a:defRPr sz="6000">
                <a:solidFill>
                  <a:schemeClr val="bg1"/>
                </a:solidFill>
              </a:defRPr>
            </a:lvl1pPr>
          </a:lstStyle>
          <a:p>
            <a:r>
              <a:rPr lang="da-DK"/>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rtl="0">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4273168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BC63DC-A6D8-4792-9CE7-E2B23129BCEA}"/>
              </a:ext>
            </a:extLst>
          </p:cNvPr>
          <p:cNvGraphicFramePr>
            <a:graphicFrameLocks noChangeAspect="1"/>
          </p:cNvGraphicFramePr>
          <p:nvPr userDrawn="1">
            <p:custDataLst>
              <p:tags r:id="rId1"/>
            </p:custDataLst>
            <p:extLst>
              <p:ext uri="{D42A27DB-BD31-4B8C-83A1-F6EECF244321}">
                <p14:modId xmlns:p14="http://schemas.microsoft.com/office/powerpoint/2010/main" val="411728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4EBC63DC-A6D8-4792-9CE7-E2B23129BC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4023518708"/>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F31A58-417A-4039-81B5-5CA2D8C6DE57}"/>
              </a:ext>
            </a:extLst>
          </p:cNvPr>
          <p:cNvGraphicFramePr>
            <a:graphicFrameLocks noChangeAspect="1"/>
          </p:cNvGraphicFramePr>
          <p:nvPr userDrawn="1">
            <p:custDataLst>
              <p:tags r:id="rId1"/>
            </p:custDataLst>
            <p:extLst>
              <p:ext uri="{D42A27DB-BD31-4B8C-83A1-F6EECF244321}">
                <p14:modId xmlns:p14="http://schemas.microsoft.com/office/powerpoint/2010/main" val="3309084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BFF31A58-417A-4039-81B5-5CA2D8C6DE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65259D24-E6A6-4D69-90CB-83073E8387B2}"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779156396"/>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7A0870D-5A09-40C3-AAD2-3D3CB85D2C6E}"/>
              </a:ext>
            </a:extLst>
          </p:cNvPr>
          <p:cNvGraphicFramePr>
            <a:graphicFrameLocks noChangeAspect="1"/>
          </p:cNvGraphicFramePr>
          <p:nvPr userDrawn="1">
            <p:custDataLst>
              <p:tags r:id="rId1"/>
            </p:custDataLst>
            <p:extLst>
              <p:ext uri="{D42A27DB-BD31-4B8C-83A1-F6EECF244321}">
                <p14:modId xmlns:p14="http://schemas.microsoft.com/office/powerpoint/2010/main" val="1569275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37A0870D-5A09-40C3-AAD2-3D3CB85D2C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9BED15FA-6EE8-4B82-A537-F53ACAF84CA4}"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rtl="0">
              <a:spcAft>
                <a:spcPts val="0"/>
              </a:spcAft>
              <a:buNone/>
              <a:defRPr sz="1600"/>
            </a:lvl1pPr>
          </a:lstStyle>
          <a:p>
            <a:r>
              <a:rPr lang="da-DK" noProof="0"/>
              <a:t>Mark placeholder to insert image </a:t>
            </a:r>
            <a:r>
              <a:rPr lang="da-DK"/>
              <a:t>using the Insert tab – Pictures or from Templafy</a:t>
            </a:r>
          </a:p>
          <a:p>
            <a:endParaRPr lang="da-DK"/>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5"/>
            <a:stretch>
              <a:fillRect/>
            </a:stretch>
          </a:blipFill>
        </p:spPr>
        <p:txBody>
          <a:bodyPr/>
          <a:lstStyle>
            <a:lvl1pPr rtl="0">
              <a:defRPr sz="100">
                <a:noFill/>
              </a:defRPr>
            </a:lvl1pPr>
          </a:lstStyle>
          <a:p>
            <a:pPr lvl="0"/>
            <a:r>
              <a:rPr lang="da-DK"/>
              <a:t>.</a:t>
            </a:r>
          </a:p>
        </p:txBody>
      </p:sp>
      <p:sp>
        <p:nvSpPr>
          <p:cNvPr id="2" name="Title 1"/>
          <p:cNvSpPr>
            <a:spLocks noGrp="1"/>
          </p:cNvSpPr>
          <p:nvPr>
            <p:ph type="ctrTitle" hasCustomPrompt="1"/>
          </p:nvPr>
        </p:nvSpPr>
        <p:spPr>
          <a:xfrm>
            <a:off x="360000" y="654050"/>
            <a:ext cx="10485800" cy="802800"/>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spTree>
    <p:extLst>
      <p:ext uri="{BB962C8B-B14F-4D97-AF65-F5344CB8AC3E}">
        <p14:creationId xmlns:p14="http://schemas.microsoft.com/office/powerpoint/2010/main" val="3147338264"/>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03D91C-9A9E-4990-9C51-5CD1A2754652}"/>
              </a:ext>
            </a:extLst>
          </p:cNvPr>
          <p:cNvGraphicFramePr>
            <a:graphicFrameLocks noChangeAspect="1"/>
          </p:cNvGraphicFramePr>
          <p:nvPr userDrawn="1">
            <p:custDataLst>
              <p:tags r:id="rId1"/>
            </p:custDataLst>
            <p:extLst>
              <p:ext uri="{D42A27DB-BD31-4B8C-83A1-F6EECF244321}">
                <p14:modId xmlns:p14="http://schemas.microsoft.com/office/powerpoint/2010/main" val="1993942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B03D91C-9A9E-4990-9C51-5CD1A27546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4095149692"/>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F60166C-2A4A-473E-AEFC-94CF443D054F}"/>
              </a:ext>
            </a:extLst>
          </p:cNvPr>
          <p:cNvGraphicFramePr>
            <a:graphicFrameLocks noChangeAspect="1"/>
          </p:cNvGraphicFramePr>
          <p:nvPr userDrawn="1">
            <p:custDataLst>
              <p:tags r:id="rId1"/>
            </p:custDataLst>
            <p:extLst>
              <p:ext uri="{D42A27DB-BD31-4B8C-83A1-F6EECF244321}">
                <p14:modId xmlns:p14="http://schemas.microsoft.com/office/powerpoint/2010/main" val="160935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8F60166C-2A4A-473E-AEFC-94CF443D05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18.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13002442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46F85BC-C716-4553-BD5C-090299A90C86}"/>
              </a:ext>
            </a:extLst>
          </p:cNvPr>
          <p:cNvGraphicFramePr>
            <a:graphicFrameLocks noChangeAspect="1"/>
          </p:cNvGraphicFramePr>
          <p:nvPr userDrawn="1">
            <p:custDataLst>
              <p:tags r:id="rId1"/>
            </p:custDataLst>
            <p:extLst>
              <p:ext uri="{D42A27DB-BD31-4B8C-83A1-F6EECF244321}">
                <p14:modId xmlns:p14="http://schemas.microsoft.com/office/powerpoint/2010/main" val="14070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46F85BC-C716-4553-BD5C-090299A90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18.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76237302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F084EF-E6C0-49F9-A75B-12C06FBE4633}"/>
              </a:ext>
            </a:extLst>
          </p:cNvPr>
          <p:cNvGraphicFramePr>
            <a:graphicFrameLocks noChangeAspect="1"/>
          </p:cNvGraphicFramePr>
          <p:nvPr userDrawn="1">
            <p:custDataLst>
              <p:tags r:id="rId1"/>
            </p:custDataLst>
            <p:extLst>
              <p:ext uri="{D42A27DB-BD31-4B8C-83A1-F6EECF244321}">
                <p14:modId xmlns:p14="http://schemas.microsoft.com/office/powerpoint/2010/main" val="150884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18F084EF-E6C0-49F9-A75B-12C06FBE46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lvl1pPr rtl="0">
              <a:defRPr/>
            </a:lvl1pPr>
          </a:lstStyle>
          <a:p>
            <a:fld id="{4DE8F052-B495-40BE-9682-094846479C8E}" type="datetime1">
              <a:rPr lang="da-DK" smtClean="0"/>
              <a:pPr/>
              <a:t>18.06.2024</a:t>
            </a:fld>
            <a:endParaRPr lang="da-DK"/>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4091856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3C26FF-5B65-4D3E-A76B-DEB2248706A7}"/>
              </a:ext>
            </a:extLst>
          </p:cNvPr>
          <p:cNvGraphicFramePr>
            <a:graphicFrameLocks noChangeAspect="1"/>
          </p:cNvGraphicFramePr>
          <p:nvPr userDrawn="1">
            <p:custDataLst>
              <p:tags r:id="rId1"/>
            </p:custDataLst>
            <p:extLst>
              <p:ext uri="{D42A27DB-BD31-4B8C-83A1-F6EECF244321}">
                <p14:modId xmlns:p14="http://schemas.microsoft.com/office/powerpoint/2010/main" val="5030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793C26FF-5B65-4D3E-A76B-DEB2248706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1B4C9864-BFD0-4574-B370-8DFD1BF6363B}"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51726319"/>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4EBE56-DC86-44DA-9707-F66B26C382B3}"/>
              </a:ext>
            </a:extLst>
          </p:cNvPr>
          <p:cNvGraphicFramePr>
            <a:graphicFrameLocks noChangeAspect="1"/>
          </p:cNvGraphicFramePr>
          <p:nvPr userDrawn="1">
            <p:custDataLst>
              <p:tags r:id="rId1"/>
            </p:custDataLst>
            <p:extLst>
              <p:ext uri="{D42A27DB-BD31-4B8C-83A1-F6EECF244321}">
                <p14:modId xmlns:p14="http://schemas.microsoft.com/office/powerpoint/2010/main" val="16901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24EBE56-DC86-44DA-9707-F66B26C382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B9941A0D-1A7D-4418-872D-0A573109AE3D}"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4673440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4A4F71C-9CE1-44CF-B35F-7CF6E5D864E4}"/>
              </a:ext>
            </a:extLst>
          </p:cNvPr>
          <p:cNvGraphicFramePr>
            <a:graphicFrameLocks noChangeAspect="1"/>
          </p:cNvGraphicFramePr>
          <p:nvPr userDrawn="1">
            <p:custDataLst>
              <p:tags r:id="rId1"/>
            </p:custDataLst>
            <p:extLst>
              <p:ext uri="{D42A27DB-BD31-4B8C-83A1-F6EECF244321}">
                <p14:modId xmlns:p14="http://schemas.microsoft.com/office/powerpoint/2010/main" val="3329353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14A4F71C-9CE1-44CF-B35F-7CF6E5D864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lvl1pPr>
          </a:lstStyle>
          <a:p>
            <a:fld id="{CE630481-804D-4542-835F-93D05E69FE5F}"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4016322553"/>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9EF37A4-B44F-4C89-A073-242167466BED}"/>
              </a:ext>
            </a:extLst>
          </p:cNvPr>
          <p:cNvGraphicFramePr>
            <a:graphicFrameLocks noChangeAspect="1"/>
          </p:cNvGraphicFramePr>
          <p:nvPr userDrawn="1">
            <p:custDataLst>
              <p:tags r:id="rId1"/>
            </p:custDataLst>
            <p:extLst>
              <p:ext uri="{D42A27DB-BD31-4B8C-83A1-F6EECF244321}">
                <p14:modId xmlns:p14="http://schemas.microsoft.com/office/powerpoint/2010/main" val="4199143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9EF37A4-B44F-4C89-A073-242167466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lvl1pPr rtl="0">
              <a:defRPr/>
            </a:lvl1pPr>
          </a:lstStyle>
          <a:p>
            <a:fld id="{7BF43399-B145-4BBC-AF2A-C9EC8B4305A6}" type="datetime1">
              <a:rPr lang="da-DK" smtClean="0"/>
              <a:pPr/>
              <a:t>18.06.2024</a:t>
            </a:fld>
            <a:endParaRPr lang="da-DK"/>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lvl1pPr rtl="0">
              <a:defRPr/>
            </a:lvl1pPr>
          </a:lstStyle>
          <a:p>
            <a:endParaRPr lang="da-DK"/>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54835265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0E83CFD-9F74-4EF8-975F-FD81488A8E17}"/>
              </a:ext>
            </a:extLst>
          </p:cNvPr>
          <p:cNvGraphicFramePr>
            <a:graphicFrameLocks noChangeAspect="1"/>
          </p:cNvGraphicFramePr>
          <p:nvPr userDrawn="1">
            <p:custDataLst>
              <p:tags r:id="rId1"/>
            </p:custDataLst>
            <p:extLst>
              <p:ext uri="{D42A27DB-BD31-4B8C-83A1-F6EECF244321}">
                <p14:modId xmlns:p14="http://schemas.microsoft.com/office/powerpoint/2010/main" val="384047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D0E83CFD-9F74-4EF8-975F-FD81488A8E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rtl="0">
              <a:defRPr sz="100">
                <a:noFill/>
              </a:defRPr>
            </a:lvl1pPr>
          </a:lstStyle>
          <a:p>
            <a:fld id="{4C6B010D-12BA-4529-B692-206652452F2C}" type="datetime1">
              <a:rPr lang="da-DK" smtClean="0"/>
              <a:pPr/>
              <a:t>18.06.2024</a:t>
            </a:fld>
            <a:endParaRPr lang="da-DK"/>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ctrTitle" hasCustomPrompt="1"/>
          </p:nvPr>
        </p:nvSpPr>
        <p:spPr>
          <a:xfrm>
            <a:off x="360000" y="654049"/>
            <a:ext cx="10485800" cy="804214"/>
          </a:xfrm>
        </p:spPr>
        <p:txBody>
          <a:bodyPr vert="horz" anchor="b" anchorCtr="0"/>
          <a:lstStyle>
            <a:lvl1pPr algn="l" rtl="0">
              <a:defRPr sz="6000"/>
            </a:lvl1pPr>
          </a:lstStyle>
          <a:p>
            <a:r>
              <a:rPr lang="da-DK"/>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rtl="0">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da-DK"/>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da-DK"/>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5">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098817132"/>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28212BF-18A5-4D9F-9F2F-E8FBAAE91B57}"/>
              </a:ext>
            </a:extLst>
          </p:cNvPr>
          <p:cNvGraphicFramePr>
            <a:graphicFrameLocks noChangeAspect="1"/>
          </p:cNvGraphicFramePr>
          <p:nvPr userDrawn="1">
            <p:custDataLst>
              <p:tags r:id="rId1"/>
            </p:custDataLst>
            <p:extLst>
              <p:ext uri="{D42A27DB-BD31-4B8C-83A1-F6EECF244321}">
                <p14:modId xmlns:p14="http://schemas.microsoft.com/office/powerpoint/2010/main" val="1916633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28212BF-18A5-4D9F-9F2F-E8FBAAE91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D74F0F3-9842-478D-99B7-277D0E19CEC9}"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192639167"/>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434468-572D-4FA6-B8CB-CCC382820344}"/>
              </a:ext>
            </a:extLst>
          </p:cNvPr>
          <p:cNvGraphicFramePr>
            <a:graphicFrameLocks noChangeAspect="1"/>
          </p:cNvGraphicFramePr>
          <p:nvPr userDrawn="1">
            <p:custDataLst>
              <p:tags r:id="rId1"/>
            </p:custDataLst>
            <p:extLst>
              <p:ext uri="{D42A27DB-BD31-4B8C-83A1-F6EECF244321}">
                <p14:modId xmlns:p14="http://schemas.microsoft.com/office/powerpoint/2010/main" val="1415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B5434468-572D-4FA6-B8CB-CCC3828203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233B4BAF-2B92-4850-839C-D15349852EB5}"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1957436452"/>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18C53D-E677-40EE-86B6-983CF3FD7F9D}"/>
              </a:ext>
            </a:extLst>
          </p:cNvPr>
          <p:cNvGraphicFramePr>
            <a:graphicFrameLocks noChangeAspect="1"/>
          </p:cNvGraphicFramePr>
          <p:nvPr userDrawn="1">
            <p:custDataLst>
              <p:tags r:id="rId1"/>
            </p:custDataLst>
            <p:extLst>
              <p:ext uri="{D42A27DB-BD31-4B8C-83A1-F6EECF244321}">
                <p14:modId xmlns:p14="http://schemas.microsoft.com/office/powerpoint/2010/main" val="265902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18C53D-E677-40EE-86B6-983CF3FD7F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lvl1pPr rtl="0">
              <a:defRPr/>
            </a:lvl1pPr>
            <a:lvl2pPr rtl="0">
              <a:defRPr/>
            </a:lvl2pPr>
            <a:lvl3pPr rtl="0">
              <a:defRPr/>
            </a:lvl3pPr>
            <a:lvl4pPr rtl="0">
              <a:defRPr/>
            </a:lvl4pPr>
            <a:lvl5pPr rtl="0">
              <a:defRPr/>
            </a:lvl5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rtl="0">
              <a:spcAft>
                <a:spcPts val="0"/>
              </a:spcAft>
              <a:buNone/>
              <a:defRPr sz="1200"/>
            </a:lvl1pPr>
          </a:lstStyle>
          <a:p>
            <a:r>
              <a:rPr lang="da-DK"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lvl1pPr rtl="0">
              <a:defRPr/>
            </a:lvl1pPr>
          </a:lstStyle>
          <a:p>
            <a:fld id="{7B5352C5-81EC-4100-8EF4-0409291AC406}" type="datetime1">
              <a:rPr lang="da-DK" smtClean="0"/>
              <a:pPr/>
              <a:t>18.06.2024</a:t>
            </a:fld>
            <a:endParaRPr lang="da-DK"/>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lvl1pPr rtl="0">
              <a:defRPr/>
            </a:lvl1pPr>
          </a:lstStyle>
          <a:p>
            <a:endParaRPr lang="da-DK"/>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745717859"/>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6B16CCA-52A6-4838-8AB3-3C27A8B4A198}"/>
              </a:ext>
            </a:extLst>
          </p:cNvPr>
          <p:cNvGraphicFramePr>
            <a:graphicFrameLocks noChangeAspect="1"/>
          </p:cNvGraphicFramePr>
          <p:nvPr userDrawn="1">
            <p:custDataLst>
              <p:tags r:id="rId1"/>
            </p:custDataLst>
            <p:extLst>
              <p:ext uri="{D42A27DB-BD31-4B8C-83A1-F6EECF244321}">
                <p14:modId xmlns:p14="http://schemas.microsoft.com/office/powerpoint/2010/main" val="2988153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06B16CCA-52A6-4838-8AB3-3C27A8B4A1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8A4F6F59-6CB3-4166-9CD8-0F5BCD967261}"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2682504136"/>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FA7D48-E59B-4B43-ABFB-2EB79E90E58B}"/>
              </a:ext>
            </a:extLst>
          </p:cNvPr>
          <p:cNvGraphicFramePr>
            <a:graphicFrameLocks noChangeAspect="1"/>
          </p:cNvGraphicFramePr>
          <p:nvPr userDrawn="1">
            <p:custDataLst>
              <p:tags r:id="rId1"/>
            </p:custDataLst>
            <p:extLst>
              <p:ext uri="{D42A27DB-BD31-4B8C-83A1-F6EECF244321}">
                <p14:modId xmlns:p14="http://schemas.microsoft.com/office/powerpoint/2010/main" val="18535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FA7D48-E59B-4B43-ABFB-2EB79E90E5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lvl1pPr rtl="0">
              <a:defRPr/>
            </a:lvl1pPr>
          </a:lstStyle>
          <a:p>
            <a:fld id="{6ACCEA19-5171-4127-A28C-C6D875C2D7D4}" type="datetime1">
              <a:rPr lang="da-DK" smtClean="0"/>
              <a:pPr/>
              <a:t>18.06.2024</a:t>
            </a:fld>
            <a:endParaRPr lang="da-DK"/>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549390637"/>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5E9166-697A-4756-9084-4D43AA6266AC}"/>
              </a:ext>
            </a:extLst>
          </p:cNvPr>
          <p:cNvGraphicFramePr>
            <a:graphicFrameLocks noChangeAspect="1"/>
          </p:cNvGraphicFramePr>
          <p:nvPr userDrawn="1">
            <p:custDataLst>
              <p:tags r:id="rId1"/>
            </p:custDataLst>
            <p:extLst>
              <p:ext uri="{D42A27DB-BD31-4B8C-83A1-F6EECF244321}">
                <p14:modId xmlns:p14="http://schemas.microsoft.com/office/powerpoint/2010/main" val="2037424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225E9166-697A-4756-9084-4D43AA626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3" name="Content Placeholder 2"/>
          <p:cNvSpPr>
            <a:spLocks noGrp="1"/>
          </p:cNvSpPr>
          <p:nvPr>
            <p:ph idx="1" hasCustomPrompt="1"/>
          </p:nvPr>
        </p:nvSpPr>
        <p:spPr>
          <a:xfrm>
            <a:off x="359998"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rtl="0">
              <a:defRPr>
                <a:solidFill>
                  <a:schemeClr val="bg1"/>
                </a:solidFill>
              </a:defRPr>
            </a:lvl1pPr>
          </a:lstStyle>
          <a:p>
            <a:fld id="{9AA3F283-0871-412B-8A65-5C27135FA311}" type="datetime1">
              <a:rPr lang="da-DK" smtClean="0"/>
              <a:pPr/>
              <a:t>18.06.2024</a:t>
            </a:fld>
            <a:endParaRPr lang="da-DK"/>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lvl1pPr rtl="0">
              <a:defRPr/>
            </a:lvl1pPr>
          </a:lstStyle>
          <a:p>
            <a:endParaRPr lang="da-DK"/>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rtl="0">
              <a:defRPr>
                <a:solidFill>
                  <a:schemeClr val="bg1"/>
                </a:solidFill>
              </a:defRPr>
            </a:lvl1pPr>
          </a:lstStyle>
          <a:p>
            <a:fld id="{23AA811B-2EBD-4900-905E-5BE206449611}" type="slidenum">
              <a:rPr lang="da-DK" smtClean="0"/>
              <a:pPr/>
              <a:t>‹nr.›</a:t>
            </a:fld>
            <a:endParaRPr lang="da-DK"/>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vert="horz"/>
          <a:lstStyle>
            <a:lvl1pPr rtl="0">
              <a:defRPr/>
            </a:lvl1pPr>
          </a:lstStyle>
          <a:p>
            <a:r>
              <a:rPr lang="da-DK" noProof="0"/>
              <a:t>Click to add title</a:t>
            </a:r>
            <a:endParaRPr lang="da-DK"/>
          </a:p>
        </p:txBody>
      </p:sp>
    </p:spTree>
    <p:extLst>
      <p:ext uri="{BB962C8B-B14F-4D97-AF65-F5344CB8AC3E}">
        <p14:creationId xmlns:p14="http://schemas.microsoft.com/office/powerpoint/2010/main" val="3580882032"/>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A4339A-E44E-4EA2-8821-B9FBBFDDE819}"/>
              </a:ext>
            </a:extLst>
          </p:cNvPr>
          <p:cNvGraphicFramePr>
            <a:graphicFrameLocks noChangeAspect="1"/>
          </p:cNvGraphicFramePr>
          <p:nvPr userDrawn="1">
            <p:custDataLst>
              <p:tags r:id="rId1"/>
            </p:custDataLst>
            <p:extLst>
              <p:ext uri="{D42A27DB-BD31-4B8C-83A1-F6EECF244321}">
                <p14:modId xmlns:p14="http://schemas.microsoft.com/office/powerpoint/2010/main" val="98323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6A4339A-E44E-4EA2-8821-B9FBBFDD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302000"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lvl1pPr rtl="0">
              <a:defRPr/>
            </a:lvl1pPr>
          </a:lstStyle>
          <a:p>
            <a:fld id="{A67BCEC0-92C2-4FF9-A782-344903368E13}" type="datetime1">
              <a:rPr lang="da-DK" smtClean="0"/>
              <a:pPr/>
              <a:t>18.06.2024</a:t>
            </a:fld>
            <a:endParaRPr lang="da-DK"/>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lvl1pPr rtl="0">
              <a:defRPr/>
            </a:lvl1pPr>
          </a:lstStyle>
          <a:p>
            <a:endParaRPr lang="da-DK"/>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3171416610"/>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9F33474-6E8E-4C5B-A4E6-42EC87473E96}"/>
              </a:ext>
            </a:extLst>
          </p:cNvPr>
          <p:cNvGraphicFramePr>
            <a:graphicFrameLocks noChangeAspect="1"/>
          </p:cNvGraphicFramePr>
          <p:nvPr userDrawn="1">
            <p:custDataLst>
              <p:tags r:id="rId1"/>
            </p:custDataLst>
            <p:extLst>
              <p:ext uri="{D42A27DB-BD31-4B8C-83A1-F6EECF244321}">
                <p14:modId xmlns:p14="http://schemas.microsoft.com/office/powerpoint/2010/main" val="260453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39F33474-6E8E-4C5B-A4E6-42EC87473E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lvl1pPr>
          </a:lstStyle>
          <a:p>
            <a:fld id="{314D1594-E68D-46B5-98E0-BADEBF2D8E2F}"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67015399"/>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557DDF1-B341-4A50-9F0A-CE72A4EDBC28}"/>
              </a:ext>
            </a:extLst>
          </p:cNvPr>
          <p:cNvGraphicFramePr>
            <a:graphicFrameLocks noChangeAspect="1"/>
          </p:cNvGraphicFramePr>
          <p:nvPr userDrawn="1">
            <p:custDataLst>
              <p:tags r:id="rId1"/>
            </p:custDataLst>
            <p:extLst>
              <p:ext uri="{D42A27DB-BD31-4B8C-83A1-F6EECF244321}">
                <p14:modId xmlns:p14="http://schemas.microsoft.com/office/powerpoint/2010/main" val="2352957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557DDF1-B341-4A50-9F0A-CE72A4EDB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4297496"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lvl1pPr rtl="0">
              <a:defRPr/>
            </a:lvl1pPr>
          </a:lstStyle>
          <a:p>
            <a:fld id="{265A58E6-12DB-4BF0-8165-AE5E60E9367A}" type="datetime1">
              <a:rPr lang="da-DK" smtClean="0"/>
              <a:pPr/>
              <a:t>18.06.2024</a:t>
            </a:fld>
            <a:endParaRPr lang="da-DK"/>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3492367252"/>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F51A2E8-EAA6-46ED-9053-DD5D6AD76EF7}"/>
              </a:ext>
            </a:extLst>
          </p:cNvPr>
          <p:cNvGraphicFramePr>
            <a:graphicFrameLocks noChangeAspect="1"/>
          </p:cNvGraphicFramePr>
          <p:nvPr userDrawn="1">
            <p:custDataLst>
              <p:tags r:id="rId1"/>
            </p:custDataLst>
            <p:extLst>
              <p:ext uri="{D42A27DB-BD31-4B8C-83A1-F6EECF244321}">
                <p14:modId xmlns:p14="http://schemas.microsoft.com/office/powerpoint/2010/main" val="191480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6F51A2E8-EAA6-46ED-9053-DD5D6AD76E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904988D6-6DD0-4C39-8AE1-A7E25B5D1BF4}"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371200853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EB3AC83-153D-43B4-BBB3-9DC474C78DBD}"/>
              </a:ext>
            </a:extLst>
          </p:cNvPr>
          <p:cNvGraphicFramePr>
            <a:graphicFrameLocks noChangeAspect="1"/>
          </p:cNvGraphicFramePr>
          <p:nvPr userDrawn="1">
            <p:custDataLst>
              <p:tags r:id="rId1"/>
            </p:custDataLst>
            <p:extLst>
              <p:ext uri="{D42A27DB-BD31-4B8C-83A1-F6EECF244321}">
                <p14:modId xmlns:p14="http://schemas.microsoft.com/office/powerpoint/2010/main" val="2779528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9EB3AC83-153D-43B4-BBB3-9DC474C78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359998" y="654050"/>
            <a:ext cx="3583351" cy="1175446"/>
          </a:xfrm>
        </p:spPr>
        <p:txBody>
          <a:bodyPr vert="horz"/>
          <a:lstStyle>
            <a:lvl1pPr rtl="0">
              <a:defRPr sz="4100"/>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rtl="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rtl="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rtl="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rtl="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rtl="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lvl1pPr>
          </a:lstStyle>
          <a:p>
            <a:fld id="{527E5059-8FC8-469D-AF5C-AED221334502}" type="datetime1">
              <a:rPr lang="da-DK" smtClean="0"/>
              <a:pPr/>
              <a:t>18.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947025494"/>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BAE60287-0DD4-4D01-A53A-5899BF340758}"/>
              </a:ext>
            </a:extLst>
          </p:cNvPr>
          <p:cNvGraphicFramePr>
            <a:graphicFrameLocks noChangeAspect="1"/>
          </p:cNvGraphicFramePr>
          <p:nvPr userDrawn="1">
            <p:custDataLst>
              <p:tags r:id="rId1"/>
            </p:custDataLst>
            <p:extLst>
              <p:ext uri="{D42A27DB-BD31-4B8C-83A1-F6EECF244321}">
                <p14:modId xmlns:p14="http://schemas.microsoft.com/office/powerpoint/2010/main" val="132040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BAE60287-0DD4-4D01-A53A-5899BF3407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tx2"/>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rtl="0">
              <a:defRPr>
                <a:solidFill>
                  <a:schemeClr val="tx2"/>
                </a:solidFill>
              </a:defRPr>
            </a:lvl1pPr>
          </a:lstStyle>
          <a:p>
            <a:fld id="{DC7F6929-E9B5-46A3-B5E9-6150C85426CE}"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0904305"/>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FDAE5E-5EB6-4945-AF41-2EC218E4C572}"/>
              </a:ext>
            </a:extLst>
          </p:cNvPr>
          <p:cNvGraphicFramePr>
            <a:graphicFrameLocks noChangeAspect="1"/>
          </p:cNvGraphicFramePr>
          <p:nvPr userDrawn="1">
            <p:custDataLst>
              <p:tags r:id="rId1"/>
            </p:custDataLst>
            <p:extLst>
              <p:ext uri="{D42A27DB-BD31-4B8C-83A1-F6EECF244321}">
                <p14:modId xmlns:p14="http://schemas.microsoft.com/office/powerpoint/2010/main" val="627160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21FDAE5E-5EB6-4945-AF41-2EC218E4C5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59FA29BE-106E-4609-97DE-EDE0B0C087F7}"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Tree>
    <p:extLst>
      <p:ext uri="{BB962C8B-B14F-4D97-AF65-F5344CB8AC3E}">
        <p14:creationId xmlns:p14="http://schemas.microsoft.com/office/powerpoint/2010/main" val="877688799"/>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DC1A67D-15B4-4A31-BCD6-E4373097286D}"/>
              </a:ext>
            </a:extLst>
          </p:cNvPr>
          <p:cNvGraphicFramePr>
            <a:graphicFrameLocks noChangeAspect="1"/>
          </p:cNvGraphicFramePr>
          <p:nvPr userDrawn="1">
            <p:custDataLst>
              <p:tags r:id="rId1"/>
            </p:custDataLst>
            <p:extLst>
              <p:ext uri="{D42A27DB-BD31-4B8C-83A1-F6EECF244321}">
                <p14:modId xmlns:p14="http://schemas.microsoft.com/office/powerpoint/2010/main" val="3053914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2" name="Object 11" hidden="1">
                        <a:extLst>
                          <a:ext uri="{FF2B5EF4-FFF2-40B4-BE49-F238E27FC236}">
                            <a16:creationId xmlns:a16="http://schemas.microsoft.com/office/drawing/2014/main" id="{FDC1A67D-15B4-4A31-BCD6-E437309728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59999" y="654050"/>
            <a:ext cx="851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rtl="0">
              <a:defRPr>
                <a:solidFill>
                  <a:schemeClr val="accent2"/>
                </a:solidFill>
              </a:defRPr>
            </a:lvl1pPr>
          </a:lstStyle>
          <a:p>
            <a:fld id="{3EFAF684-C611-4113-B7D5-C3E527F22C4F}" type="datetime1">
              <a:rPr lang="da-DK" smtClean="0"/>
              <a:pPr/>
              <a:t>18.06.2024</a:t>
            </a:fld>
            <a:endParaRPr lang="da-DK"/>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lvl1pPr rtl="0">
              <a:defRPr/>
            </a:lvl1pPr>
          </a:lstStyle>
          <a:p>
            <a:endParaRPr lang="da-DK"/>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rtl="0">
              <a:defRPr>
                <a:solidFill>
                  <a:schemeClr val="accent2"/>
                </a:solidFill>
              </a:defRPr>
            </a:lvl1pPr>
          </a:lstStyle>
          <a:p>
            <a:fld id="{23AA811B-2EBD-4900-905E-5BE206449611}" type="slidenum">
              <a:rPr lang="da-DK" smtClean="0"/>
              <a:pPr/>
              <a:t>‹nr.›</a:t>
            </a:fld>
            <a:endParaRPr lang="da-DK"/>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4486080"/>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F09C2E-31C1-4F9B-9740-71B6014FE194}"/>
              </a:ext>
            </a:extLst>
          </p:cNvPr>
          <p:cNvGraphicFramePr>
            <a:graphicFrameLocks noChangeAspect="1"/>
          </p:cNvGraphicFramePr>
          <p:nvPr userDrawn="1">
            <p:custDataLst>
              <p:tags r:id="rId1"/>
            </p:custDataLst>
            <p:extLst>
              <p:ext uri="{D42A27DB-BD31-4B8C-83A1-F6EECF244321}">
                <p14:modId xmlns:p14="http://schemas.microsoft.com/office/powerpoint/2010/main" val="2595208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BF09C2E-31C1-4F9B-9740-71B6014FE1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rtl="0">
              <a:defRPr sz="100">
                <a:noFill/>
              </a:defRPr>
            </a:lvl1pPr>
          </a:lstStyle>
          <a:p>
            <a:fld id="{C4B04AE4-03BB-4174-AD21-7567A4C959F4}" type="datetime1">
              <a:rPr lang="da-DK" smtClean="0"/>
              <a:pPr/>
              <a:t>18.06.2024</a:t>
            </a:fld>
            <a:endParaRPr lang="da-DK"/>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2" name="Title 1"/>
          <p:cNvSpPr>
            <a:spLocks noGrp="1"/>
          </p:cNvSpPr>
          <p:nvPr>
            <p:ph type="title" hasCustomPrompt="1"/>
          </p:nvPr>
        </p:nvSpPr>
        <p:spPr>
          <a:xfrm>
            <a:off x="359999" y="654050"/>
            <a:ext cx="7524000" cy="938213"/>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lvl1pPr rtl="0">
              <a:defRPr/>
            </a:lvl1pPr>
          </a:lstStyle>
          <a:p>
            <a:endParaRPr lang="da-DK"/>
          </a:p>
        </p:txBody>
      </p:sp>
    </p:spTree>
    <p:extLst>
      <p:ext uri="{BB962C8B-B14F-4D97-AF65-F5344CB8AC3E}">
        <p14:creationId xmlns:p14="http://schemas.microsoft.com/office/powerpoint/2010/main" val="2247901837"/>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8FEC5D-208A-45E5-B6AE-C5854E801034}"/>
              </a:ext>
            </a:extLst>
          </p:cNvPr>
          <p:cNvGraphicFramePr>
            <a:graphicFrameLocks noChangeAspect="1"/>
          </p:cNvGraphicFramePr>
          <p:nvPr userDrawn="1">
            <p:custDataLst>
              <p:tags r:id="rId1"/>
            </p:custDataLst>
            <p:extLst>
              <p:ext uri="{D42A27DB-BD31-4B8C-83A1-F6EECF244321}">
                <p14:modId xmlns:p14="http://schemas.microsoft.com/office/powerpoint/2010/main" val="189040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218FEC5D-208A-45E5-B6AE-C5854E8010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vert="horz"/>
          <a:lstStyle>
            <a:lvl1pPr rtl="0">
              <a:defRPr/>
            </a:lvl1pPr>
          </a:lstStyle>
          <a:p>
            <a:r>
              <a:rPr lang="da-DK"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lvl1pPr rtl="0">
              <a:defRPr/>
            </a:lvl1pPr>
          </a:lstStyle>
          <a:p>
            <a:fld id="{3A46E679-721E-4A44-A034-B3833441D488}" type="datetime1">
              <a:rPr lang="da-DK" smtClean="0"/>
              <a:pPr/>
              <a:t>18.06.2024</a:t>
            </a:fld>
            <a:endParaRPr lang="da-DK"/>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630868409"/>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42EF20-83FC-47CD-9A6B-22CA8EBF2AB1}"/>
              </a:ext>
            </a:extLst>
          </p:cNvPr>
          <p:cNvGraphicFramePr>
            <a:graphicFrameLocks noChangeAspect="1"/>
          </p:cNvGraphicFramePr>
          <p:nvPr userDrawn="1">
            <p:custDataLst>
              <p:tags r:id="rId1"/>
            </p:custDataLst>
            <p:extLst>
              <p:ext uri="{D42A27DB-BD31-4B8C-83A1-F6EECF244321}">
                <p14:modId xmlns:p14="http://schemas.microsoft.com/office/powerpoint/2010/main" val="2746990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242EF20-83FC-47CD-9A6B-22CA8EBF2A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rtl="0">
              <a:defRPr sz="100">
                <a:noFill/>
              </a:defRPr>
            </a:lvl1pPr>
          </a:lstStyle>
          <a:p>
            <a:fld id="{F6C1ADEE-7B52-423A-9878-0398FEFAF71F}" type="datetime1">
              <a:rPr lang="da-DK" smtClean="0"/>
              <a:pPr/>
              <a:t>18.06.2024</a:t>
            </a:fld>
            <a:endParaRPr lang="da-DK"/>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lvl1pPr rtl="0">
              <a:defRPr/>
            </a:lvl1pPr>
          </a:lstStyle>
          <a:p>
            <a:endParaRPr lang="da-DK"/>
          </a:p>
        </p:txBody>
      </p:sp>
    </p:spTree>
    <p:extLst>
      <p:ext uri="{BB962C8B-B14F-4D97-AF65-F5344CB8AC3E}">
        <p14:creationId xmlns:p14="http://schemas.microsoft.com/office/powerpoint/2010/main" val="4138849815"/>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8740DD9-43CE-4C3E-97A1-ADF13214434B}"/>
              </a:ext>
            </a:extLst>
          </p:cNvPr>
          <p:cNvGraphicFramePr>
            <a:graphicFrameLocks noChangeAspect="1"/>
          </p:cNvGraphicFramePr>
          <p:nvPr userDrawn="1">
            <p:custDataLst>
              <p:tags r:id="rId1"/>
            </p:custDataLst>
            <p:extLst>
              <p:ext uri="{D42A27DB-BD31-4B8C-83A1-F6EECF244321}">
                <p14:modId xmlns:p14="http://schemas.microsoft.com/office/powerpoint/2010/main" val="1333985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48740DD9-43CE-4C3E-97A1-ADF132144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lvl1pPr rtl="0">
              <a:defRPr/>
            </a:lvl1pPr>
          </a:lstStyle>
          <a:p>
            <a:fld id="{3FD627AC-F023-4E38-BBE2-8CC6A4B15F9B}" type="datetime1">
              <a:rPr lang="da-DK" smtClean="0"/>
              <a:pPr/>
              <a:t>18.06.2024</a:t>
            </a:fld>
            <a:endParaRPr lang="da-DK"/>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683894057"/>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F2636-3EAA-407B-9D55-00604C9AAD76}"/>
              </a:ext>
            </a:extLst>
          </p:cNvPr>
          <p:cNvGraphicFramePr>
            <a:graphicFrameLocks noChangeAspect="1"/>
          </p:cNvGraphicFramePr>
          <p:nvPr userDrawn="1">
            <p:custDataLst>
              <p:tags r:id="rId1"/>
            </p:custDataLst>
            <p:extLst>
              <p:ext uri="{D42A27DB-BD31-4B8C-83A1-F6EECF244321}">
                <p14:modId xmlns:p14="http://schemas.microsoft.com/office/powerpoint/2010/main" val="325217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A92F2636-3EAA-407B-9D55-00604C9AAD7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rtl="0">
              <a:defRPr sz="100">
                <a:noFill/>
              </a:defRPr>
            </a:lvl1pPr>
          </a:lstStyle>
          <a:p>
            <a:fld id="{791AE312-9C38-4B88-A1BD-03872F0FCB4A}" type="datetime1">
              <a:rPr lang="da-DK" smtClean="0"/>
              <a:pPr/>
              <a:t>18.06.2024</a:t>
            </a:fld>
            <a:endParaRPr lang="da-DK"/>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rtl="0">
              <a:defRPr>
                <a:solidFill>
                  <a:schemeClr val="bg1"/>
                </a:solidFill>
              </a:defRPr>
            </a:lvl1pPr>
          </a:lstStyle>
          <a:p>
            <a:endParaRPr lang="da-DK"/>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1272824847"/>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56E38-FDDE-433A-BAF6-AC8D12AFC6FC}"/>
              </a:ext>
            </a:extLst>
          </p:cNvPr>
          <p:cNvGraphicFramePr>
            <a:graphicFrameLocks noChangeAspect="1"/>
          </p:cNvGraphicFramePr>
          <p:nvPr userDrawn="1">
            <p:custDataLst>
              <p:tags r:id="rId1"/>
            </p:custDataLst>
            <p:extLst>
              <p:ext uri="{D42A27DB-BD31-4B8C-83A1-F6EECF244321}">
                <p14:modId xmlns:p14="http://schemas.microsoft.com/office/powerpoint/2010/main" val="377707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A1A56E38-FDDE-433A-BAF6-AC8D12AFC6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50802" y="654051"/>
            <a:ext cx="6184800" cy="2349448"/>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bg1"/>
                </a:solidFill>
              </a:defRPr>
            </a:lvl1pPr>
          </a:lstStyle>
          <a:p>
            <a:fld id="{B28D1D58-AB37-4343-ADE9-EEBE954DF792}" type="datetime1">
              <a:rPr lang="da-DK" smtClean="0"/>
              <a:pPr/>
              <a:t>18.06.2024</a:t>
            </a:fld>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bg1"/>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706099923"/>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2A58D2D-009C-477A-A7E8-6CBFB3E4C3BD}"/>
              </a:ext>
            </a:extLst>
          </p:cNvPr>
          <p:cNvGraphicFramePr>
            <a:graphicFrameLocks noChangeAspect="1"/>
          </p:cNvGraphicFramePr>
          <p:nvPr userDrawn="1">
            <p:custDataLst>
              <p:tags r:id="rId1"/>
            </p:custDataLst>
            <p:extLst>
              <p:ext uri="{D42A27DB-BD31-4B8C-83A1-F6EECF244321}">
                <p14:modId xmlns:p14="http://schemas.microsoft.com/office/powerpoint/2010/main" val="791056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2A58D2D-009C-477A-A7E8-6CBFB3E4C3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58225" y="654051"/>
            <a:ext cx="4563272" cy="2349448"/>
          </a:xfrm>
        </p:spPr>
        <p:txBody>
          <a:bodyPr vert="horz"/>
          <a:lstStyle>
            <a:lvl1pPr rtl="0">
              <a:lnSpc>
                <a:spcPct val="91000"/>
              </a:lnSpc>
              <a:defRPr sz="4100"/>
            </a:lvl1pPr>
          </a:lstStyle>
          <a:p>
            <a:r>
              <a:rPr lang="da-DK"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lvl1pPr rtl="0">
              <a:defRPr/>
            </a:lvl1pPr>
          </a:lstStyle>
          <a:p>
            <a:fld id="{06093368-26E3-4532-8FD8-7B783022E688}" type="datetime1">
              <a:rPr lang="da-DK" smtClean="0"/>
              <a:pPr/>
              <a:t>18.06.2024</a:t>
            </a:fld>
            <a:endParaRPr lang="da-DK"/>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rtl="0">
              <a:defRPr>
                <a:solidFill>
                  <a:schemeClr val="bg1"/>
                </a:solidFill>
              </a:defRPr>
            </a:lvl1pPr>
          </a:lstStyle>
          <a:p>
            <a:endParaRPr lang="da-DK"/>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287586255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EFBBF1-C009-481F-880D-B72DF8BA5B5C}"/>
              </a:ext>
            </a:extLst>
          </p:cNvPr>
          <p:cNvGraphicFramePr>
            <a:graphicFrameLocks noChangeAspect="1"/>
          </p:cNvGraphicFramePr>
          <p:nvPr userDrawn="1">
            <p:custDataLst>
              <p:tags r:id="rId1"/>
            </p:custDataLst>
            <p:extLst>
              <p:ext uri="{D42A27DB-BD31-4B8C-83A1-F6EECF244321}">
                <p14:modId xmlns:p14="http://schemas.microsoft.com/office/powerpoint/2010/main" val="3622667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E1EFBBF1-C009-481F-880D-B72DF8BA5B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2" name="Title 1"/>
          <p:cNvSpPr>
            <a:spLocks noGrp="1"/>
          </p:cNvSpPr>
          <p:nvPr>
            <p:ph type="title" hasCustomPrompt="1"/>
          </p:nvPr>
        </p:nvSpPr>
        <p:spPr>
          <a:xfrm>
            <a:off x="359998" y="654050"/>
            <a:ext cx="3583351" cy="1175446"/>
          </a:xfrm>
        </p:spPr>
        <p:txBody>
          <a:bodyPr vert="horz"/>
          <a:lstStyle>
            <a:lvl1pPr rtl="0">
              <a:defRPr sz="4100">
                <a:solidFill>
                  <a:schemeClr val="tx1"/>
                </a:solidFill>
              </a:defRPr>
            </a:lvl1pPr>
          </a:lstStyle>
          <a:p>
            <a:r>
              <a:rPr lang="da-DK"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rtl="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rtl="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rtl="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rtl="0">
              <a:lnSpc>
                <a:spcPct val="100000"/>
              </a:lnSpc>
              <a:spcBef>
                <a:spcPts val="0"/>
              </a:spcBef>
              <a:spcAft>
                <a:spcPts val="3000"/>
              </a:spcAft>
              <a:buClrTx/>
              <a:buFont typeface="+mj-lt"/>
              <a:buAutoNum type="arabicPeriod"/>
              <a:defRPr sz="1600" b="0">
                <a:solidFill>
                  <a:schemeClr val="tx1"/>
                </a:solidFill>
              </a:defRPr>
            </a:lvl4pPr>
            <a:lvl5pPr marL="342900" indent="-342900" rtl="0">
              <a:lnSpc>
                <a:spcPct val="100000"/>
              </a:lnSpc>
              <a:spcBef>
                <a:spcPts val="0"/>
              </a:spcBef>
              <a:spcAft>
                <a:spcPts val="3000"/>
              </a:spcAft>
              <a:buClrTx/>
              <a:buFont typeface="+mj-lt"/>
              <a:buAutoNum type="arabicPeriod"/>
              <a:defRPr sz="1600" b="0">
                <a:solidFill>
                  <a:schemeClr val="tx1"/>
                </a:solidFill>
              </a:defRPr>
            </a:lvl5pPr>
            <a:lvl6pPr marL="342900" indent="-342900" rtl="0">
              <a:lnSpc>
                <a:spcPct val="100000"/>
              </a:lnSpc>
              <a:spcBef>
                <a:spcPts val="0"/>
              </a:spcBef>
              <a:spcAft>
                <a:spcPts val="3000"/>
              </a:spcAft>
              <a:buClrTx/>
              <a:buFont typeface="+mj-lt"/>
              <a:buAutoNum type="arabicPeriod"/>
              <a:defRPr sz="1600" b="0">
                <a:solidFill>
                  <a:schemeClr val="tx1"/>
                </a:solidFill>
              </a:defRPr>
            </a:lvl6pPr>
            <a:lvl7pPr marL="342900" indent="-342900" rtl="0">
              <a:lnSpc>
                <a:spcPct val="100000"/>
              </a:lnSpc>
              <a:spcBef>
                <a:spcPts val="0"/>
              </a:spcBef>
              <a:spcAft>
                <a:spcPts val="3000"/>
              </a:spcAft>
              <a:buClrTx/>
              <a:buFont typeface="+mj-lt"/>
              <a:buAutoNum type="arabicPeriod"/>
              <a:defRPr sz="1600" b="0">
                <a:solidFill>
                  <a:schemeClr val="tx1"/>
                </a:solidFill>
              </a:defRPr>
            </a:lvl7pPr>
            <a:lvl8pPr marL="342900" indent="-342900" rtl="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rtl="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da-DK" noProof="0"/>
              <a:t>Click to add agenda point</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rtl="0">
              <a:defRPr>
                <a:solidFill>
                  <a:schemeClr val="tx1"/>
                </a:solidFill>
              </a:defRPr>
            </a:lvl1pPr>
          </a:lstStyle>
          <a:p>
            <a:fld id="{B0A79E5A-EC3D-4F9C-8449-9968B8A873CD}" type="datetime1">
              <a:rPr lang="da-DK" smtClean="0"/>
              <a:pPr/>
              <a:t>18.06.2024</a:t>
            </a:fld>
            <a:endParaRPr lang="da-DK"/>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rtl="0">
              <a:defRPr>
                <a:solidFill>
                  <a:schemeClr val="tx1"/>
                </a:solidFill>
              </a:defRPr>
            </a:lvl1pPr>
          </a:lstStyle>
          <a:p>
            <a:endParaRPr lang="da-DK"/>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rtl="0">
              <a:defRPr>
                <a:solidFill>
                  <a:schemeClr val="tx1"/>
                </a:solidFill>
              </a:defRPr>
            </a:lvl1pPr>
          </a:lstStyle>
          <a:p>
            <a:fld id="{23AA811B-2EBD-4900-905E-5BE206449611}" type="slidenum">
              <a:rPr lang="da-DK" smtClean="0"/>
              <a:pPr/>
              <a:t>‹nr.›</a:t>
            </a:fld>
            <a:endParaRPr lang="da-DK"/>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181127127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BFD55A-4F3D-4A85-8475-178D9DF5C530}"/>
              </a:ext>
            </a:extLst>
          </p:cNvPr>
          <p:cNvGraphicFramePr>
            <a:graphicFrameLocks noChangeAspect="1"/>
          </p:cNvGraphicFramePr>
          <p:nvPr userDrawn="1">
            <p:custDataLst>
              <p:tags r:id="rId1"/>
            </p:custDataLst>
            <p:extLst>
              <p:ext uri="{D42A27DB-BD31-4B8C-83A1-F6EECF244321}">
                <p14:modId xmlns:p14="http://schemas.microsoft.com/office/powerpoint/2010/main" val="336243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EDBFD55A-4F3D-4A85-8475-178D9DF5C5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bg1"/>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lvl1pPr rtl="0">
              <a:defRPr/>
            </a:lvl1pPr>
          </a:lstStyle>
          <a:p>
            <a:fld id="{851E3A26-CACC-472F-999E-6CEDC51DAFFB}" type="datetime1">
              <a:rPr lang="da-DK" smtClean="0"/>
              <a:pPr/>
              <a:t>18.06.2024</a:t>
            </a:fld>
            <a:endParaRPr lang="da-DK"/>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1"/>
                </a:solidFill>
              </a:rPr>
              <a:t>Ramboll</a:t>
            </a:r>
          </a:p>
        </p:txBody>
      </p:sp>
    </p:spTree>
    <p:extLst>
      <p:ext uri="{BB962C8B-B14F-4D97-AF65-F5344CB8AC3E}">
        <p14:creationId xmlns:p14="http://schemas.microsoft.com/office/powerpoint/2010/main" val="685132015"/>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E670840-F4BC-4F38-8592-0661A8253093}"/>
              </a:ext>
            </a:extLst>
          </p:cNvPr>
          <p:cNvGraphicFramePr>
            <a:graphicFrameLocks noChangeAspect="1"/>
          </p:cNvGraphicFramePr>
          <p:nvPr userDrawn="1">
            <p:custDataLst>
              <p:tags r:id="rId1"/>
            </p:custDataLst>
            <p:extLst>
              <p:ext uri="{D42A27DB-BD31-4B8C-83A1-F6EECF244321}">
                <p14:modId xmlns:p14="http://schemas.microsoft.com/office/powerpoint/2010/main" val="2594851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FE670840-F4BC-4F38-8592-0661A82530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5648399" y="654050"/>
            <a:ext cx="6184800" cy="2349449"/>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lvl1pPr rtl="0">
              <a:defRPr/>
            </a:lvl1pPr>
          </a:lstStyle>
          <a:p>
            <a:fld id="{923212C7-A548-4370-9C24-272889F12011}" type="datetime1">
              <a:rPr lang="da-DK" smtClean="0"/>
              <a:pPr/>
              <a:t>18.06.2024</a:t>
            </a:fld>
            <a:endParaRPr lang="da-DK"/>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lvl1pPr rtl="0">
              <a:defRPr/>
            </a:lvl1pPr>
          </a:lstStyle>
          <a:p>
            <a:endParaRPr lang="da-DK"/>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lvl1pPr rtl="0">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343135904"/>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D0B381F-A21F-43A5-AF52-1A2745AC1B2D}"/>
              </a:ext>
            </a:extLst>
          </p:cNvPr>
          <p:cNvGraphicFramePr>
            <a:graphicFrameLocks noChangeAspect="1"/>
          </p:cNvGraphicFramePr>
          <p:nvPr userDrawn="1">
            <p:custDataLst>
              <p:tags r:id="rId1"/>
            </p:custDataLst>
            <p:extLst>
              <p:ext uri="{D42A27DB-BD31-4B8C-83A1-F6EECF244321}">
                <p14:modId xmlns:p14="http://schemas.microsoft.com/office/powerpoint/2010/main" val="23696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BD0B381F-A21F-43A5-AF52-1A2745AC1B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0"/>
            <a:ext cx="3584974" cy="1175446"/>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lvl1pPr rtl="0">
              <a:defRPr/>
            </a:lvl1pPr>
          </a:lstStyle>
          <a:p>
            <a:fld id="{3393CB94-5BA6-4B5C-8025-21D6F4E52D5E}" type="datetime1">
              <a:rPr lang="da-DK" smtClean="0"/>
              <a:pPr/>
              <a:t>18.06.2024</a:t>
            </a:fld>
            <a:endParaRPr lang="da-DK"/>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4246638903"/>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E53B51C-6617-44DF-A9BD-BD3480363F5B}"/>
              </a:ext>
            </a:extLst>
          </p:cNvPr>
          <p:cNvGraphicFramePr>
            <a:graphicFrameLocks noChangeAspect="1"/>
          </p:cNvGraphicFramePr>
          <p:nvPr userDrawn="1">
            <p:custDataLst>
              <p:tags r:id="rId1"/>
            </p:custDataLst>
            <p:extLst>
              <p:ext uri="{D42A27DB-BD31-4B8C-83A1-F6EECF244321}">
                <p14:modId xmlns:p14="http://schemas.microsoft.com/office/powerpoint/2010/main" val="28439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FE53B51C-6617-44DF-A9BD-BD3480363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7260312" y="654051"/>
            <a:ext cx="4575290" cy="2349448"/>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rtl="0">
              <a:defRPr>
                <a:solidFill>
                  <a:schemeClr val="tx2"/>
                </a:solidFill>
              </a:defRPr>
            </a:lvl1pPr>
          </a:lstStyle>
          <a:p>
            <a:fld id="{29D73515-F0A6-4B30-A688-5D4CF44B9186}" type="datetime1">
              <a:rPr lang="da-DK" smtClean="0"/>
              <a:pPr/>
              <a:t>18.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lvl1pPr rtl="0">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rtl="0">
              <a:defRPr>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7888237"/>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4DCC80B-CA1B-42C1-925B-B49AB5DE3F9F}"/>
              </a:ext>
            </a:extLst>
          </p:cNvPr>
          <p:cNvGraphicFramePr>
            <a:graphicFrameLocks noChangeAspect="1"/>
          </p:cNvGraphicFramePr>
          <p:nvPr userDrawn="1">
            <p:custDataLst>
              <p:tags r:id="rId1"/>
            </p:custDataLst>
            <p:extLst>
              <p:ext uri="{D42A27DB-BD31-4B8C-83A1-F6EECF244321}">
                <p14:modId xmlns:p14="http://schemas.microsoft.com/office/powerpoint/2010/main" val="1439938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D4DCC80B-CA1B-42C1-925B-B49AB5DE3F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bwMode="white">
          <a:xfrm>
            <a:off x="360000" y="654051"/>
            <a:ext cx="3584974" cy="2136774"/>
          </a:xfrm>
        </p:spPr>
        <p:txBody>
          <a:bodyPr vert="horz"/>
          <a:lstStyle>
            <a:lvl1pPr rtl="0">
              <a:lnSpc>
                <a:spcPct val="91000"/>
              </a:lnSpc>
              <a:defRPr sz="4100">
                <a:solidFill>
                  <a:schemeClr val="tx2"/>
                </a:solidFill>
              </a:defRPr>
            </a:lvl1pPr>
          </a:lstStyle>
          <a:p>
            <a:r>
              <a:rPr lang="da-DK"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rtl="0">
              <a:defRPr>
                <a:solidFill>
                  <a:schemeClr val="bg1"/>
                </a:solidFill>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vl6pPr rtl="0">
              <a:defRPr>
                <a:solidFill>
                  <a:schemeClr val="bg1"/>
                </a:solidFill>
              </a:defRPr>
            </a:lvl6pPr>
            <a:lvl7pPr rtl="0">
              <a:defRPr>
                <a:solidFill>
                  <a:schemeClr val="bg1"/>
                </a:solidFill>
              </a:defRPr>
            </a:lvl7pPr>
            <a:lvl8pPr rtl="0">
              <a:defRPr>
                <a:solidFill>
                  <a:schemeClr val="bg1"/>
                </a:solidFill>
              </a:defRPr>
            </a:lvl8pPr>
            <a:lvl9pPr rtl="0">
              <a:defRPr>
                <a:solidFill>
                  <a:schemeClr val="bg1"/>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lvl1pPr rtl="0">
              <a:defRPr/>
            </a:lvl1pPr>
          </a:lstStyle>
          <a:p>
            <a:fld id="{B6F065B1-CCC8-4072-99B6-C71232109F4F}" type="datetime1">
              <a:rPr lang="da-DK" smtClean="0"/>
              <a:pPr/>
              <a:t>18.06.2024</a:t>
            </a:fld>
            <a:endParaRPr lang="da-DK"/>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2"/>
                </a:solidFill>
              </a:rPr>
              <a:t>Ramboll</a:t>
            </a:r>
          </a:p>
        </p:txBody>
      </p:sp>
    </p:spTree>
    <p:extLst>
      <p:ext uri="{BB962C8B-B14F-4D97-AF65-F5344CB8AC3E}">
        <p14:creationId xmlns:p14="http://schemas.microsoft.com/office/powerpoint/2010/main" val="2638929647"/>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FE8520-24A3-48D5-A339-BF98E17D9B81}"/>
              </a:ext>
            </a:extLst>
          </p:cNvPr>
          <p:cNvGraphicFramePr>
            <a:graphicFrameLocks noChangeAspect="1"/>
          </p:cNvGraphicFramePr>
          <p:nvPr userDrawn="1">
            <p:custDataLst>
              <p:tags r:id="rId1"/>
            </p:custDataLst>
            <p:extLst>
              <p:ext uri="{D42A27DB-BD31-4B8C-83A1-F6EECF244321}">
                <p14:modId xmlns:p14="http://schemas.microsoft.com/office/powerpoint/2010/main" val="231924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E3FE8520-24A3-48D5-A339-BF98E17D9B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7260312" y="654051"/>
            <a:ext cx="4575290" cy="2349448"/>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rtl="0">
              <a:defRPr>
                <a:solidFill>
                  <a:schemeClr val="accent2"/>
                </a:solidFill>
              </a:defRPr>
            </a:lvl1pPr>
          </a:lstStyle>
          <a:p>
            <a:fld id="{4C0216E3-463B-4CB8-BE43-497F498BEEEE}" type="datetime1">
              <a:rPr lang="da-DK" smtClean="0"/>
              <a:pPr/>
              <a:t>18.06.2024</a:t>
            </a:fld>
            <a:endParaRPr lang="da-DK"/>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rtl="0">
              <a:defRPr>
                <a:solidFill>
                  <a:schemeClr val="accent2"/>
                </a:solidFill>
              </a:defRPr>
            </a:lvl1pPr>
          </a:lstStyle>
          <a:p>
            <a:endParaRPr lang="da-DK"/>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rtl="0">
              <a:defRPr>
                <a:solidFill>
                  <a:schemeClr val="accent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259937643"/>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8F232F3-17CC-4766-B05D-DCD55CD707FA}"/>
              </a:ext>
            </a:extLst>
          </p:cNvPr>
          <p:cNvGraphicFramePr>
            <a:graphicFrameLocks noChangeAspect="1"/>
          </p:cNvGraphicFramePr>
          <p:nvPr userDrawn="1">
            <p:custDataLst>
              <p:tags r:id="rId1"/>
            </p:custDataLst>
            <p:extLst>
              <p:ext uri="{D42A27DB-BD31-4B8C-83A1-F6EECF244321}">
                <p14:modId xmlns:p14="http://schemas.microsoft.com/office/powerpoint/2010/main" val="1196212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88F232F3-17CC-4766-B05D-DCD55CD70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title" hasCustomPrompt="1"/>
          </p:nvPr>
        </p:nvSpPr>
        <p:spPr>
          <a:xfrm>
            <a:off x="360000" y="654051"/>
            <a:ext cx="3584974" cy="2136774"/>
          </a:xfrm>
        </p:spPr>
        <p:txBody>
          <a:bodyPr vert="horz"/>
          <a:lstStyle>
            <a:lvl1pPr rtl="0">
              <a:lnSpc>
                <a:spcPct val="91000"/>
              </a:lnSpc>
              <a:defRPr sz="4100">
                <a:solidFill>
                  <a:schemeClr val="accent2"/>
                </a:solidFill>
              </a:defRPr>
            </a:lvl1pPr>
          </a:lstStyle>
          <a:p>
            <a:r>
              <a:rPr lang="da-DK"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rtl="0">
              <a:defRPr>
                <a:solidFill>
                  <a:schemeClr val="accent2"/>
                </a:solidFill>
              </a:defRPr>
            </a:lvl1pPr>
            <a:lvl2pPr rtl="0">
              <a:defRPr>
                <a:solidFill>
                  <a:schemeClr val="accent2"/>
                </a:solidFill>
              </a:defRPr>
            </a:lvl2pPr>
            <a:lvl3pPr rtl="0">
              <a:defRPr>
                <a:solidFill>
                  <a:schemeClr val="accent2"/>
                </a:solidFill>
              </a:defRPr>
            </a:lvl3pPr>
            <a:lvl4pPr rtl="0">
              <a:defRPr>
                <a:solidFill>
                  <a:schemeClr val="accent2"/>
                </a:solidFill>
              </a:defRPr>
            </a:lvl4pPr>
            <a:lvl5pPr rtl="0">
              <a:defRPr>
                <a:solidFill>
                  <a:schemeClr val="accent2"/>
                </a:solidFill>
              </a:defRPr>
            </a:lvl5pPr>
            <a:lvl6pPr rtl="0">
              <a:defRPr>
                <a:solidFill>
                  <a:schemeClr val="accent2"/>
                </a:solidFill>
              </a:defRPr>
            </a:lvl6pPr>
            <a:lvl7pPr rtl="0">
              <a:defRPr>
                <a:solidFill>
                  <a:schemeClr val="accent2"/>
                </a:solidFill>
              </a:defRPr>
            </a:lvl7pPr>
            <a:lvl8pPr rtl="0">
              <a:defRPr>
                <a:solidFill>
                  <a:schemeClr val="accent2"/>
                </a:solidFill>
              </a:defRPr>
            </a:lvl8pPr>
            <a:lvl9pPr rtl="0">
              <a:defRPr>
                <a:solidFill>
                  <a:schemeClr val="accent2"/>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p>
          <a:p>
            <a:pPr lvl="1"/>
            <a:r>
              <a:rPr lang="da-DK" noProof="0"/>
              <a:t>Second level</a:t>
            </a:r>
          </a:p>
          <a:p>
            <a:pPr lvl="2"/>
            <a:r>
              <a:rPr lang="da-DK" noProof="0"/>
              <a:t>Third level</a:t>
            </a:r>
          </a:p>
          <a:p>
            <a:pPr lvl="3"/>
            <a:r>
              <a:rPr lang="da-DK" noProof="0"/>
              <a:t>Fourth level</a:t>
            </a:r>
          </a:p>
          <a:p>
            <a:pPr lvl="4"/>
            <a:r>
              <a:rPr lang="da-DK" noProof="0"/>
              <a:t>Fifth level</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rtl="0">
              <a:defRPr>
                <a:solidFill>
                  <a:srgbClr val="333333"/>
                </a:solidFill>
              </a:defRPr>
            </a:lvl1pPr>
            <a:lvl2pPr rtl="0">
              <a:defRPr>
                <a:solidFill>
                  <a:srgbClr val="333333"/>
                </a:solidFill>
              </a:defRPr>
            </a:lvl2pPr>
            <a:lvl3pPr rtl="0">
              <a:defRPr>
                <a:solidFill>
                  <a:srgbClr val="333333"/>
                </a:solidFill>
              </a:defRPr>
            </a:lvl3pPr>
            <a:lvl4pPr rtl="0">
              <a:defRPr>
                <a:solidFill>
                  <a:srgbClr val="333333"/>
                </a:solidFill>
              </a:defRPr>
            </a:lvl4pPr>
            <a:lvl5pPr rtl="0">
              <a:defRPr>
                <a:solidFill>
                  <a:schemeClr val="tx2"/>
                </a:solidFill>
              </a:defRPr>
            </a:lvl5pPr>
            <a:lvl6pPr rtl="0">
              <a:defRPr>
                <a:solidFill>
                  <a:schemeClr val="tx2"/>
                </a:solidFill>
              </a:defRPr>
            </a:lvl6pPr>
            <a:lvl7pPr rtl="0">
              <a:defRPr>
                <a:solidFill>
                  <a:srgbClr val="333333"/>
                </a:solidFill>
              </a:defRPr>
            </a:lvl7pPr>
            <a:lvl8pPr rtl="0">
              <a:defRPr>
                <a:solidFill>
                  <a:srgbClr val="333333"/>
                </a:solidFill>
              </a:defRPr>
            </a:lvl8pPr>
            <a:lvl9pPr rtl="0">
              <a:defRPr>
                <a:solidFill>
                  <a:srgbClr val="333333"/>
                </a:solidFill>
              </a:defRPr>
            </a:lvl9pPr>
          </a:lstStyle>
          <a:p>
            <a:pPr lvl="0"/>
            <a:r>
              <a:rPr lang="da-DK" noProof="0"/>
              <a:t>Click to add text </a:t>
            </a:r>
            <a:br>
              <a:rPr lang="da-DK" noProof="0"/>
            </a:br>
            <a:r>
              <a:rPr lang="da-DK" noProof="0"/>
              <a:t>Enter &amp; TAB for next text level</a:t>
            </a:r>
            <a:br>
              <a:rPr lang="da-DK" noProof="0"/>
            </a:br>
            <a:r>
              <a:rPr lang="da-DK" noProof="0"/>
              <a:t>SHIFT+TAB to go back in levels</a:t>
            </a:r>
            <a:endParaRPr lang="da-DK"/>
          </a:p>
          <a:p>
            <a:pPr lvl="1"/>
            <a:r>
              <a:rPr lang="da-DK"/>
              <a:t>Second level</a:t>
            </a:r>
          </a:p>
          <a:p>
            <a:pPr lvl="2"/>
            <a:r>
              <a:rPr lang="da-DK"/>
              <a:t>Third level</a:t>
            </a:r>
          </a:p>
          <a:p>
            <a:pPr lvl="3"/>
            <a:r>
              <a:rPr lang="da-DK"/>
              <a:t>Fourth level</a:t>
            </a:r>
          </a:p>
          <a:p>
            <a:pPr lvl="4"/>
            <a:r>
              <a:rPr lang="da-DK"/>
              <a:t>Fifth level</a:t>
            </a:r>
          </a:p>
          <a:p>
            <a:pPr lvl="5"/>
            <a:r>
              <a:rPr lang="da-DK" noProof="0"/>
              <a:t>6</a:t>
            </a:r>
          </a:p>
          <a:p>
            <a:pPr lvl="6"/>
            <a:r>
              <a:rPr lang="da-DK" noProof="0"/>
              <a:t>7</a:t>
            </a:r>
          </a:p>
          <a:p>
            <a:pPr lvl="7"/>
            <a:r>
              <a:rPr lang="da-DK" noProof="0"/>
              <a:t>8</a:t>
            </a:r>
          </a:p>
          <a:p>
            <a:pPr lvl="8"/>
            <a:r>
              <a:rPr lang="da-DK" noProof="0"/>
              <a:t>9</a:t>
            </a:r>
            <a:endParaRPr lang="da-DK"/>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lvl1pPr rtl="0">
              <a:defRPr/>
            </a:lvl1pPr>
          </a:lstStyle>
          <a:p>
            <a:fld id="{49EE3078-35F5-4450-8DDB-1711F663AF0B}" type="datetime1">
              <a:rPr lang="da-DK" smtClean="0"/>
              <a:pPr/>
              <a:t>18.06.2024</a:t>
            </a:fld>
            <a:endParaRPr lang="da-DK"/>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lvl1pPr rtl="0">
              <a:defRPr/>
            </a:lvl1pPr>
          </a:lstStyle>
          <a:p>
            <a:endParaRPr lang="da-DK"/>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lvl1pPr rtl="0">
              <a:defRPr/>
            </a:lvl1pPr>
          </a:lstStyle>
          <a:p>
            <a:fld id="{23AA811B-2EBD-4900-905E-5BE206449611}" type="slidenum">
              <a:rPr lang="da-DK" smtClean="0"/>
              <a:pPr/>
              <a:t>‹nr.›</a:t>
            </a:fld>
            <a:endParaRPr lang="da-DK"/>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accent2"/>
                </a:solidFill>
              </a:rPr>
              <a:t>Ramboll</a:t>
            </a:r>
          </a:p>
        </p:txBody>
      </p:sp>
    </p:spTree>
    <p:extLst>
      <p:ext uri="{BB962C8B-B14F-4D97-AF65-F5344CB8AC3E}">
        <p14:creationId xmlns:p14="http://schemas.microsoft.com/office/powerpoint/2010/main" val="299358261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CD2189-9650-477A-85BC-7A51E3A993E7}"/>
              </a:ext>
            </a:extLst>
          </p:cNvPr>
          <p:cNvGraphicFramePr>
            <a:graphicFrameLocks noChangeAspect="1"/>
          </p:cNvGraphicFramePr>
          <p:nvPr userDrawn="1">
            <p:custDataLst>
              <p:tags r:id="rId1"/>
            </p:custDataLst>
            <p:extLst>
              <p:ext uri="{D42A27DB-BD31-4B8C-83A1-F6EECF244321}">
                <p14:modId xmlns:p14="http://schemas.microsoft.com/office/powerpoint/2010/main" val="183900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A0CD2189-9650-477A-85BC-7A51E3A993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rtl="0">
              <a:defRPr sz="100">
                <a:noFill/>
              </a:defRPr>
            </a:lvl1pPr>
          </a:lstStyle>
          <a:p>
            <a:fld id="{87CEE0B2-D606-4C87-BD16-18AC95AF549F}" type="datetime1">
              <a:rPr lang="da-DK" smtClean="0"/>
              <a:pPr/>
              <a:t>18.06.2024</a:t>
            </a:fld>
            <a:endParaRPr lang="da-DK"/>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rtl="0">
              <a:defRPr sz="100">
                <a:noFill/>
              </a:defRPr>
            </a:lvl1pPr>
          </a:lstStyle>
          <a:p>
            <a:fld id="{23AA811B-2EBD-4900-905E-5BE206449611}" type="slidenum">
              <a:rPr lang="da-DK" smtClean="0"/>
              <a:pPr/>
              <a:t>‹nr.›</a:t>
            </a:fld>
            <a:endParaRPr lang="da-DK"/>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rtl="0">
              <a:defRPr sz="100">
                <a:noFill/>
              </a:defRPr>
            </a:lvl1pPr>
          </a:lstStyle>
          <a:p>
            <a:endParaRPr lang="da-DK"/>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rtl="0">
              <a:spcAft>
                <a:spcPts val="0"/>
              </a:spcAft>
              <a:buNone/>
              <a:defRPr sz="1600"/>
            </a:lvl1pPr>
          </a:lstStyle>
          <a:p>
            <a:r>
              <a:rPr lang="da-DK" noProof="0"/>
              <a:t>Mark placeholder to insert image using the Insert tab – Pictures or from Templafy</a:t>
            </a:r>
          </a:p>
        </p:txBody>
      </p:sp>
      <p:sp>
        <p:nvSpPr>
          <p:cNvPr id="2" name="Title 1"/>
          <p:cNvSpPr>
            <a:spLocks noGrp="1"/>
          </p:cNvSpPr>
          <p:nvPr>
            <p:ph type="title" hasCustomPrompt="1"/>
          </p:nvPr>
        </p:nvSpPr>
        <p:spPr/>
        <p:txBody>
          <a:bodyPr vert="horz"/>
          <a:lstStyle>
            <a:lvl1pPr rtl="0">
              <a:defRPr/>
            </a:lvl1pPr>
          </a:lstStyle>
          <a:p>
            <a:r>
              <a:rPr lang="da-DK" noProof="0"/>
              <a:t>Click to add title</a:t>
            </a:r>
          </a:p>
        </p:txBody>
      </p:sp>
    </p:spTree>
    <p:extLst>
      <p:ext uri="{BB962C8B-B14F-4D97-AF65-F5344CB8AC3E}">
        <p14:creationId xmlns:p14="http://schemas.microsoft.com/office/powerpoint/2010/main" val="252741095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F2A449F-63F0-4261-AFD8-ACCA8BD05C33}"/>
              </a:ext>
            </a:extLst>
          </p:cNvPr>
          <p:cNvGraphicFramePr>
            <a:graphicFrameLocks noChangeAspect="1"/>
          </p:cNvGraphicFramePr>
          <p:nvPr userDrawn="1">
            <p:custDataLst>
              <p:tags r:id="rId1"/>
            </p:custDataLst>
            <p:extLst>
              <p:ext uri="{D42A27DB-BD31-4B8C-83A1-F6EECF244321}">
                <p14:modId xmlns:p14="http://schemas.microsoft.com/office/powerpoint/2010/main" val="643237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CF2A449F-63F0-4261-AFD8-ACCA8BD05C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bg2"/>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bg2"/>
                </a:solidFill>
              </a:defRPr>
            </a:lvl1pPr>
          </a:lstStyle>
          <a:p>
            <a:fld id="{075B1503-1805-4DC5-AF6E-FDE48DB177B4}" type="datetime1">
              <a:rPr lang="da-DK" smtClean="0"/>
              <a:pPr/>
              <a:t>18.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bg2"/>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bg2"/>
                </a:solidFill>
              </a:defRPr>
            </a:lvl1pPr>
          </a:lstStyle>
          <a:p>
            <a:fld id="{23AA811B-2EBD-4900-905E-5BE206449611}" type="slidenum">
              <a:rPr lang="da-DK" smtClean="0"/>
              <a:pPr/>
              <a:t>‹nr.›</a:t>
            </a:fld>
            <a:endParaRPr lang="da-DK"/>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bg2"/>
                </a:solidFill>
              </a:rPr>
              <a:t>Ramboll</a:t>
            </a:r>
          </a:p>
        </p:txBody>
      </p:sp>
    </p:spTree>
    <p:extLst>
      <p:ext uri="{BB962C8B-B14F-4D97-AF65-F5344CB8AC3E}">
        <p14:creationId xmlns:p14="http://schemas.microsoft.com/office/powerpoint/2010/main" val="969793231"/>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9AF7C25-4370-4339-B323-813EDFF5383A}"/>
              </a:ext>
            </a:extLst>
          </p:cNvPr>
          <p:cNvGraphicFramePr>
            <a:graphicFrameLocks noChangeAspect="1"/>
          </p:cNvGraphicFramePr>
          <p:nvPr userDrawn="1">
            <p:custDataLst>
              <p:tags r:id="rId1"/>
            </p:custDataLst>
            <p:extLst>
              <p:ext uri="{D42A27DB-BD31-4B8C-83A1-F6EECF244321}">
                <p14:modId xmlns:p14="http://schemas.microsoft.com/office/powerpoint/2010/main" val="184906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Object 8" hidden="1">
                        <a:extLst>
                          <a:ext uri="{FF2B5EF4-FFF2-40B4-BE49-F238E27FC236}">
                            <a16:creationId xmlns:a16="http://schemas.microsoft.com/office/drawing/2014/main" id="{49AF7C25-4370-4339-B323-813EDFF538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sz="2000" noProof="0"/>
          </a:p>
        </p:txBody>
      </p:sp>
      <p:sp>
        <p:nvSpPr>
          <p:cNvPr id="2" name="Title 1"/>
          <p:cNvSpPr>
            <a:spLocks noGrp="1"/>
          </p:cNvSpPr>
          <p:nvPr>
            <p:ph type="ctrTitle" hasCustomPrompt="1"/>
          </p:nvPr>
        </p:nvSpPr>
        <p:spPr bwMode="white">
          <a:xfrm>
            <a:off x="1350000" y="1122363"/>
            <a:ext cx="8509963" cy="1984631"/>
          </a:xfrm>
        </p:spPr>
        <p:txBody>
          <a:bodyPr vert="horz" anchor="b"/>
          <a:lstStyle>
            <a:lvl1pPr algn="l" rtl="0">
              <a:defRPr sz="6000">
                <a:solidFill>
                  <a:schemeClr val="tx1"/>
                </a:solidFill>
              </a:defRPr>
            </a:lvl1pPr>
          </a:lstStyle>
          <a:p>
            <a:r>
              <a:rPr lang="da-DK" noProof="0"/>
              <a:t>Click to add </a:t>
            </a:r>
            <a:r>
              <a:rPr lang="da-DK"/>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rtl="0">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da-DK"/>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rtl="0">
              <a:defRPr>
                <a:solidFill>
                  <a:schemeClr val="tx1"/>
                </a:solidFill>
              </a:defRPr>
            </a:lvl1pPr>
          </a:lstStyle>
          <a:p>
            <a:fld id="{F24941B2-5F7F-4165-B2DE-D010B7A4A5F5}" type="datetime1">
              <a:rPr lang="da-DK" smtClean="0"/>
              <a:pPr/>
              <a:t>18.06.2024</a:t>
            </a:fld>
            <a:endParaRPr lang="da-DK"/>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rtl="0">
              <a:defRPr>
                <a:solidFill>
                  <a:schemeClr val="tx1"/>
                </a:solidFill>
              </a:defRPr>
            </a:lvl1pPr>
          </a:lstStyle>
          <a:p>
            <a:endParaRPr lang="da-DK"/>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rtl="0">
              <a:defRPr>
                <a:solidFill>
                  <a:schemeClr val="tx1"/>
                </a:solidFill>
              </a:defRPr>
            </a:lvl1pPr>
          </a:lstStyle>
          <a:p>
            <a:fld id="{23AA811B-2EBD-4900-905E-5BE206449611}" type="slidenum">
              <a:rPr lang="da-DK" smtClean="0"/>
              <a:pPr/>
              <a:t>‹nr.›</a:t>
            </a:fld>
            <a:endParaRPr lang="da-DK"/>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pPr rtl="0"/>
            <a:r>
              <a:rPr lang="da-DK" sz="700">
                <a:solidFill>
                  <a:schemeClr val="tx1"/>
                </a:solidFill>
              </a:rPr>
              <a:t>Ramboll</a:t>
            </a:r>
          </a:p>
        </p:txBody>
      </p:sp>
    </p:spTree>
    <p:extLst>
      <p:ext uri="{BB962C8B-B14F-4D97-AF65-F5344CB8AC3E}">
        <p14:creationId xmlns:p14="http://schemas.microsoft.com/office/powerpoint/2010/main" val="4030931373"/>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slideLayout" Target="../slideLayouts/slideLayout81.xml"/><Relationship Id="rId39" Type="http://schemas.openxmlformats.org/officeDocument/2006/relationships/slideLayout" Target="../slideLayouts/slideLayout94.xml"/><Relationship Id="rId21" Type="http://schemas.openxmlformats.org/officeDocument/2006/relationships/slideLayout" Target="../slideLayouts/slideLayout76.xml"/><Relationship Id="rId34" Type="http://schemas.openxmlformats.org/officeDocument/2006/relationships/slideLayout" Target="../slideLayouts/slideLayout89.xml"/><Relationship Id="rId42" Type="http://schemas.openxmlformats.org/officeDocument/2006/relationships/slideLayout" Target="../slideLayouts/slideLayout97.xml"/><Relationship Id="rId47" Type="http://schemas.openxmlformats.org/officeDocument/2006/relationships/slideLayout" Target="../slideLayouts/slideLayout102.xml"/><Relationship Id="rId50" Type="http://schemas.openxmlformats.org/officeDocument/2006/relationships/slideLayout" Target="../slideLayouts/slideLayout105.xml"/><Relationship Id="rId55" Type="http://schemas.openxmlformats.org/officeDocument/2006/relationships/slideLayout" Target="../slideLayouts/slideLayout110.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9" Type="http://schemas.openxmlformats.org/officeDocument/2006/relationships/slideLayout" Target="../slideLayouts/slideLayout84.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slideLayout" Target="../slideLayouts/slideLayout87.xml"/><Relationship Id="rId37" Type="http://schemas.openxmlformats.org/officeDocument/2006/relationships/slideLayout" Target="../slideLayouts/slideLayout92.xml"/><Relationship Id="rId40" Type="http://schemas.openxmlformats.org/officeDocument/2006/relationships/slideLayout" Target="../slideLayouts/slideLayout95.xml"/><Relationship Id="rId45" Type="http://schemas.openxmlformats.org/officeDocument/2006/relationships/slideLayout" Target="../slideLayouts/slideLayout100.xml"/><Relationship Id="rId53" Type="http://schemas.openxmlformats.org/officeDocument/2006/relationships/slideLayout" Target="../slideLayouts/slideLayout108.xml"/><Relationship Id="rId58" Type="http://schemas.openxmlformats.org/officeDocument/2006/relationships/oleObject" Target="../embeddings/oleObject57.bin"/><Relationship Id="rId5" Type="http://schemas.openxmlformats.org/officeDocument/2006/relationships/slideLayout" Target="../slideLayouts/slideLayout60.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slideLayout" Target="../slideLayouts/slideLayout82.xml"/><Relationship Id="rId30" Type="http://schemas.openxmlformats.org/officeDocument/2006/relationships/slideLayout" Target="../slideLayouts/slideLayout85.xml"/><Relationship Id="rId35" Type="http://schemas.openxmlformats.org/officeDocument/2006/relationships/slideLayout" Target="../slideLayouts/slideLayout90.xml"/><Relationship Id="rId43" Type="http://schemas.openxmlformats.org/officeDocument/2006/relationships/slideLayout" Target="../slideLayouts/slideLayout98.xml"/><Relationship Id="rId48" Type="http://schemas.openxmlformats.org/officeDocument/2006/relationships/slideLayout" Target="../slideLayouts/slideLayout103.xml"/><Relationship Id="rId56" Type="http://schemas.openxmlformats.org/officeDocument/2006/relationships/theme" Target="../theme/theme2.xml"/><Relationship Id="rId8" Type="http://schemas.openxmlformats.org/officeDocument/2006/relationships/slideLayout" Target="../slideLayouts/slideLayout63.xml"/><Relationship Id="rId51" Type="http://schemas.openxmlformats.org/officeDocument/2006/relationships/slideLayout" Target="../slideLayouts/slideLayout106.xml"/><Relationship Id="rId3" Type="http://schemas.openxmlformats.org/officeDocument/2006/relationships/slideLayout" Target="../slideLayouts/slideLayout58.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33" Type="http://schemas.openxmlformats.org/officeDocument/2006/relationships/slideLayout" Target="../slideLayouts/slideLayout88.xml"/><Relationship Id="rId38" Type="http://schemas.openxmlformats.org/officeDocument/2006/relationships/slideLayout" Target="../slideLayouts/slideLayout93.xml"/><Relationship Id="rId46" Type="http://schemas.openxmlformats.org/officeDocument/2006/relationships/slideLayout" Target="../slideLayouts/slideLayout101.xml"/><Relationship Id="rId59" Type="http://schemas.openxmlformats.org/officeDocument/2006/relationships/image" Target="../media/image1.emf"/><Relationship Id="rId20" Type="http://schemas.openxmlformats.org/officeDocument/2006/relationships/slideLayout" Target="../slideLayouts/slideLayout75.xml"/><Relationship Id="rId41" Type="http://schemas.openxmlformats.org/officeDocument/2006/relationships/slideLayout" Target="../slideLayouts/slideLayout96.xml"/><Relationship Id="rId54" Type="http://schemas.openxmlformats.org/officeDocument/2006/relationships/slideLayout" Target="../slideLayouts/slideLayout109.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slideLayout" Target="../slideLayouts/slideLayout83.xml"/><Relationship Id="rId36" Type="http://schemas.openxmlformats.org/officeDocument/2006/relationships/slideLayout" Target="../slideLayouts/slideLayout91.xml"/><Relationship Id="rId49" Type="http://schemas.openxmlformats.org/officeDocument/2006/relationships/slideLayout" Target="../slideLayouts/slideLayout104.xml"/><Relationship Id="rId57" Type="http://schemas.openxmlformats.org/officeDocument/2006/relationships/tags" Target="../tags/tag58.xml"/><Relationship Id="rId10" Type="http://schemas.openxmlformats.org/officeDocument/2006/relationships/slideLayout" Target="../slideLayouts/slideLayout65.xml"/><Relationship Id="rId31" Type="http://schemas.openxmlformats.org/officeDocument/2006/relationships/slideLayout" Target="../slideLayouts/slideLayout86.xml"/><Relationship Id="rId44" Type="http://schemas.openxmlformats.org/officeDocument/2006/relationships/slideLayout" Target="../slideLayouts/slideLayout99.xml"/><Relationship Id="rId52" Type="http://schemas.openxmlformats.org/officeDocument/2006/relationships/slideLayout" Target="../slideLayouts/slideLayout10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23.xml"/><Relationship Id="rId18" Type="http://schemas.openxmlformats.org/officeDocument/2006/relationships/slideLayout" Target="../slideLayouts/slideLayout128.xml"/><Relationship Id="rId26" Type="http://schemas.openxmlformats.org/officeDocument/2006/relationships/slideLayout" Target="../slideLayouts/slideLayout136.xml"/><Relationship Id="rId39" Type="http://schemas.openxmlformats.org/officeDocument/2006/relationships/slideLayout" Target="../slideLayouts/slideLayout149.xml"/><Relationship Id="rId21" Type="http://schemas.openxmlformats.org/officeDocument/2006/relationships/slideLayout" Target="../slideLayouts/slideLayout131.xml"/><Relationship Id="rId34" Type="http://schemas.openxmlformats.org/officeDocument/2006/relationships/slideLayout" Target="../slideLayouts/slideLayout144.xml"/><Relationship Id="rId42" Type="http://schemas.openxmlformats.org/officeDocument/2006/relationships/oleObject" Target="../embeddings/oleObject113.bin"/><Relationship Id="rId7" Type="http://schemas.openxmlformats.org/officeDocument/2006/relationships/slideLayout" Target="../slideLayouts/slideLayout117.xml"/><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9" Type="http://schemas.openxmlformats.org/officeDocument/2006/relationships/slideLayout" Target="../slideLayouts/slideLayout139.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slideLayout" Target="../slideLayouts/slideLayout134.xml"/><Relationship Id="rId32" Type="http://schemas.openxmlformats.org/officeDocument/2006/relationships/slideLayout" Target="../slideLayouts/slideLayout142.xml"/><Relationship Id="rId37" Type="http://schemas.openxmlformats.org/officeDocument/2006/relationships/slideLayout" Target="../slideLayouts/slideLayout147.xml"/><Relationship Id="rId40" Type="http://schemas.openxmlformats.org/officeDocument/2006/relationships/theme" Target="../theme/theme3.xml"/><Relationship Id="rId45" Type="http://schemas.openxmlformats.org/officeDocument/2006/relationships/image" Target="../media/image21.png"/><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slideLayout" Target="../slideLayouts/slideLayout133.xml"/><Relationship Id="rId28" Type="http://schemas.openxmlformats.org/officeDocument/2006/relationships/slideLayout" Target="../slideLayouts/slideLayout138.xml"/><Relationship Id="rId36" Type="http://schemas.openxmlformats.org/officeDocument/2006/relationships/slideLayout" Target="../slideLayouts/slideLayout146.xml"/><Relationship Id="rId10" Type="http://schemas.openxmlformats.org/officeDocument/2006/relationships/slideLayout" Target="../slideLayouts/slideLayout120.xml"/><Relationship Id="rId19" Type="http://schemas.openxmlformats.org/officeDocument/2006/relationships/slideLayout" Target="../slideLayouts/slideLayout129.xml"/><Relationship Id="rId31" Type="http://schemas.openxmlformats.org/officeDocument/2006/relationships/slideLayout" Target="../slideLayouts/slideLayout141.xml"/><Relationship Id="rId44" Type="http://schemas.openxmlformats.org/officeDocument/2006/relationships/image" Target="../media/image20.png"/><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slideLayout" Target="../slideLayouts/slideLayout132.xml"/><Relationship Id="rId27" Type="http://schemas.openxmlformats.org/officeDocument/2006/relationships/slideLayout" Target="../slideLayouts/slideLayout137.xml"/><Relationship Id="rId30" Type="http://schemas.openxmlformats.org/officeDocument/2006/relationships/slideLayout" Target="../slideLayouts/slideLayout140.xml"/><Relationship Id="rId35" Type="http://schemas.openxmlformats.org/officeDocument/2006/relationships/slideLayout" Target="../slideLayouts/slideLayout145.xml"/><Relationship Id="rId43" Type="http://schemas.openxmlformats.org/officeDocument/2006/relationships/image" Target="../media/image19.emf"/><Relationship Id="rId8" Type="http://schemas.openxmlformats.org/officeDocument/2006/relationships/slideLayout" Target="../slideLayouts/slideLayout118.xml"/><Relationship Id="rId3" Type="http://schemas.openxmlformats.org/officeDocument/2006/relationships/slideLayout" Target="../slideLayouts/slideLayout113.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slideLayout" Target="../slideLayouts/slideLayout135.xml"/><Relationship Id="rId33" Type="http://schemas.openxmlformats.org/officeDocument/2006/relationships/slideLayout" Target="../slideLayouts/slideLayout143.xml"/><Relationship Id="rId38" Type="http://schemas.openxmlformats.org/officeDocument/2006/relationships/slideLayout" Target="../slideLayouts/slideLayout148.xml"/><Relationship Id="rId20" Type="http://schemas.openxmlformats.org/officeDocument/2006/relationships/slideLayout" Target="../slideLayouts/slideLayout130.xml"/><Relationship Id="rId41" Type="http://schemas.openxmlformats.org/officeDocument/2006/relationships/tags" Target="../tags/tag1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5A3CF6-4343-4A8B-9C19-D343D6B48BAA}"/>
              </a:ext>
            </a:extLst>
          </p:cNvPr>
          <p:cNvGraphicFramePr>
            <a:graphicFrameLocks noChangeAspect="1"/>
          </p:cNvGraphicFramePr>
          <p:nvPr userDrawn="1">
            <p:custDataLst>
              <p:tags r:id="rId57"/>
            </p:custDataLst>
            <p:extLst>
              <p:ext uri="{D42A27DB-BD31-4B8C-83A1-F6EECF244321}">
                <p14:modId xmlns:p14="http://schemas.microsoft.com/office/powerpoint/2010/main" val="2721697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445A3CF6-4343-4A8B-9C19-D343D6B48BAA}"/>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18.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userDrawn="1">
          <p15:clr>
            <a:srgbClr val="A4A3A4"/>
          </p15:clr>
        </p15:guide>
        <p15:guide id="2" pos="847" userDrawn="1">
          <p15:clr>
            <a:srgbClr val="A4A3A4"/>
          </p15:clr>
        </p15:guide>
        <p15:guide id="3" orient="horz" pos="410" userDrawn="1">
          <p15:clr>
            <a:srgbClr val="F26B43"/>
          </p15:clr>
        </p15:guide>
        <p15:guide id="4" orient="horz" pos="4135" userDrawn="1">
          <p15:clr>
            <a:srgbClr val="A4A3A4"/>
          </p15:clr>
        </p15:guide>
        <p15:guide id="5" pos="226" userDrawn="1">
          <p15:clr>
            <a:srgbClr val="F26B43"/>
          </p15:clr>
        </p15:guide>
        <p15:guide id="6" pos="7453" userDrawn="1">
          <p15:clr>
            <a:srgbClr val="F26B43"/>
          </p15:clr>
        </p15:guide>
        <p15:guide id="7" orient="horz" pos="1152" userDrawn="1">
          <p15:clr>
            <a:srgbClr val="F26B43"/>
          </p15:clr>
        </p15:guide>
        <p15:guide id="8" pos="1242" userDrawn="1">
          <p15:clr>
            <a:srgbClr val="A4A3A4"/>
          </p15:clr>
        </p15:guide>
        <p15:guide id="9" pos="1468" userDrawn="1">
          <p15:clr>
            <a:srgbClr val="A4A3A4"/>
          </p15:clr>
        </p15:guide>
        <p15:guide id="10" pos="1863" userDrawn="1">
          <p15:clr>
            <a:srgbClr val="A4A3A4"/>
          </p15:clr>
        </p15:guide>
        <p15:guide id="11" pos="2090" userDrawn="1">
          <p15:clr>
            <a:srgbClr val="A4A3A4"/>
          </p15:clr>
        </p15:guide>
        <p15:guide id="12" pos="2484" userDrawn="1">
          <p15:clr>
            <a:srgbClr val="A4A3A4"/>
          </p15:clr>
        </p15:guide>
        <p15:guide id="13" pos="2711" userDrawn="1">
          <p15:clr>
            <a:srgbClr val="A4A3A4"/>
          </p15:clr>
        </p15:guide>
        <p15:guide id="14" pos="3105" userDrawn="1">
          <p15:clr>
            <a:srgbClr val="A4A3A4"/>
          </p15:clr>
        </p15:guide>
        <p15:guide id="15" pos="3332" userDrawn="1">
          <p15:clr>
            <a:srgbClr val="A4A3A4"/>
          </p15:clr>
        </p15:guide>
        <p15:guide id="16" pos="3726" userDrawn="1">
          <p15:clr>
            <a:srgbClr val="A4A3A4"/>
          </p15:clr>
        </p15:guide>
        <p15:guide id="17" pos="3953" userDrawn="1">
          <p15:clr>
            <a:srgbClr val="A4A3A4"/>
          </p15:clr>
        </p15:guide>
        <p15:guide id="18" pos="4347" userDrawn="1">
          <p15:clr>
            <a:srgbClr val="A4A3A4"/>
          </p15:clr>
        </p15:guide>
        <p15:guide id="19" pos="4574" userDrawn="1">
          <p15:clr>
            <a:srgbClr val="A4A3A4"/>
          </p15:clr>
        </p15:guide>
        <p15:guide id="20" pos="4968" userDrawn="1">
          <p15:clr>
            <a:srgbClr val="A4A3A4"/>
          </p15:clr>
        </p15:guide>
        <p15:guide id="21" pos="5195" userDrawn="1">
          <p15:clr>
            <a:srgbClr val="A4A3A4"/>
          </p15:clr>
        </p15:guide>
        <p15:guide id="22" pos="5589" userDrawn="1">
          <p15:clr>
            <a:srgbClr val="A4A3A4"/>
          </p15:clr>
        </p15:guide>
        <p15:guide id="23" pos="5816" userDrawn="1">
          <p15:clr>
            <a:srgbClr val="A4A3A4"/>
          </p15:clr>
        </p15:guide>
        <p15:guide id="24" pos="6211" userDrawn="1">
          <p15:clr>
            <a:srgbClr val="A4A3A4"/>
          </p15:clr>
        </p15:guide>
        <p15:guide id="25" pos="6437" userDrawn="1">
          <p15:clr>
            <a:srgbClr val="A4A3A4"/>
          </p15:clr>
        </p15:guide>
        <p15:guide id="26" pos="6832" userDrawn="1">
          <p15:clr>
            <a:srgbClr val="A4A3A4"/>
          </p15:clr>
        </p15:guide>
        <p15:guide id="27" pos="7058" userDrawn="1">
          <p15:clr>
            <a:srgbClr val="A4A3A4"/>
          </p15:clr>
        </p15:guide>
        <p15:guide id="28" orient="horz" pos="385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9AE5F9C-F329-47C6-8F94-5BCE2A7C40CE}"/>
              </a:ext>
            </a:extLst>
          </p:cNvPr>
          <p:cNvGraphicFramePr>
            <a:graphicFrameLocks noChangeAspect="1"/>
          </p:cNvGraphicFramePr>
          <p:nvPr userDrawn="1">
            <p:custDataLst>
              <p:tags r:id="rId57"/>
            </p:custDataLst>
            <p:extLst>
              <p:ext uri="{D42A27DB-BD31-4B8C-83A1-F6EECF244321}">
                <p14:modId xmlns:p14="http://schemas.microsoft.com/office/powerpoint/2010/main" val="1952553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8" imgW="408" imgH="408" progId="TCLayout.ActiveDocument.1">
                  <p:embed/>
                </p:oleObj>
              </mc:Choice>
              <mc:Fallback>
                <p:oleObj name="think-cell Slide" r:id="rId58" imgW="408" imgH="408" progId="TCLayout.ActiveDocument.1">
                  <p:embed/>
                  <p:pic>
                    <p:nvPicPr>
                      <p:cNvPr id="6" name="Object 5" hidden="1">
                        <a:extLst>
                          <a:ext uri="{FF2B5EF4-FFF2-40B4-BE49-F238E27FC236}">
                            <a16:creationId xmlns:a16="http://schemas.microsoft.com/office/drawing/2014/main" id="{F9AE5F9C-F329-47C6-8F94-5BCE2A7C40CE}"/>
                          </a:ext>
                        </a:extLst>
                      </p:cNvPr>
                      <p:cNvPicPr/>
                      <p:nvPr/>
                    </p:nvPicPr>
                    <p:blipFill>
                      <a:blip r:embed="rId59"/>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da-DK"/>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rtl="0"/>
              <a:endParaRPr lang="da-DK" sz="2000" noProof="0"/>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pPr rtl="0"/>
            <a:r>
              <a:rPr lang="da-DK"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da-DK"/>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da-DK" noProof="0"/>
              <a:t>Level 1 (Enter+TAB for next text level, SHIFT+TAB to go back in levels)</a:t>
            </a:r>
          </a:p>
          <a:p>
            <a:pPr lvl="1"/>
            <a:r>
              <a:rPr lang="da-DK" noProof="0"/>
              <a:t>Level 2</a:t>
            </a:r>
          </a:p>
          <a:p>
            <a:pPr lvl="2"/>
            <a:r>
              <a:rPr lang="da-DK" noProof="0"/>
              <a:t>Level 3</a:t>
            </a:r>
          </a:p>
          <a:p>
            <a:pPr lvl="3"/>
            <a:r>
              <a:rPr lang="da-DK" noProof="0"/>
              <a:t>Level 4</a:t>
            </a:r>
          </a:p>
          <a:p>
            <a:pPr lvl="4"/>
            <a:r>
              <a:rPr lang="da-DK" noProof="0"/>
              <a:t>Level 5</a:t>
            </a:r>
          </a:p>
          <a:p>
            <a:pPr lvl="5"/>
            <a:r>
              <a:rPr lang="da-DK" noProof="0"/>
              <a:t>Level 6</a:t>
            </a:r>
          </a:p>
          <a:p>
            <a:pPr lvl="6"/>
            <a:r>
              <a:rPr lang="da-DK" noProof="0"/>
              <a:t>Level 7</a:t>
            </a:r>
          </a:p>
          <a:p>
            <a:pPr lvl="7"/>
            <a:r>
              <a:rPr lang="da-DK" noProof="0"/>
              <a:t>Level 8</a:t>
            </a:r>
          </a:p>
          <a:p>
            <a:pPr lvl="8"/>
            <a:r>
              <a:rPr lang="da-DK"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rtl="0">
              <a:defRPr sz="700">
                <a:solidFill>
                  <a:schemeClr val="tx2"/>
                </a:solidFill>
              </a:defRPr>
            </a:lvl1pPr>
          </a:lstStyle>
          <a:p>
            <a:fld id="{D7C7A626-396F-47CE-9599-33B16A849820}" type="datetime1">
              <a:rPr lang="da-DK" smtClean="0"/>
              <a:pPr/>
              <a:t>18.06.2024</a:t>
            </a:fld>
            <a:endParaRPr lang="da-DK"/>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rtl="0">
              <a:defRPr sz="700">
                <a:solidFill>
                  <a:schemeClr val="tx2"/>
                </a:solidFill>
              </a:defRPr>
            </a:lvl1pPr>
          </a:lstStyle>
          <a:p>
            <a:endParaRPr lang="da-DK"/>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rtl="0">
              <a:defRPr sz="700">
                <a:solidFill>
                  <a:schemeClr val="tx2"/>
                </a:solidFill>
              </a:defRPr>
            </a:lvl1pPr>
          </a:lstStyle>
          <a:p>
            <a:fld id="{23AA811B-2EBD-4900-905E-5BE206449611}" type="slidenum">
              <a:rPr lang="da-DK" smtClean="0"/>
              <a:pPr/>
              <a:t>‹nr.›</a:t>
            </a:fld>
            <a:endParaRPr lang="da-DK"/>
          </a:p>
        </p:txBody>
      </p:sp>
    </p:spTree>
    <p:extLst>
      <p:ext uri="{BB962C8B-B14F-4D97-AF65-F5344CB8AC3E}">
        <p14:creationId xmlns:p14="http://schemas.microsoft.com/office/powerpoint/2010/main" val="24388508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 id="2147483737" r:id="rId33"/>
    <p:sldLayoutId id="2147483738" r:id="rId34"/>
    <p:sldLayoutId id="2147483739" r:id="rId35"/>
    <p:sldLayoutId id="2147483740" r:id="rId36"/>
    <p:sldLayoutId id="2147483741" r:id="rId37"/>
    <p:sldLayoutId id="2147483742" r:id="rId38"/>
    <p:sldLayoutId id="2147483743" r:id="rId39"/>
    <p:sldLayoutId id="2147483744" r:id="rId40"/>
    <p:sldLayoutId id="2147483745" r:id="rId41"/>
    <p:sldLayoutId id="2147483746" r:id="rId42"/>
    <p:sldLayoutId id="2147483747" r:id="rId43"/>
    <p:sldLayoutId id="2147483748" r:id="rId44"/>
    <p:sldLayoutId id="2147483749" r:id="rId45"/>
    <p:sldLayoutId id="2147483750" r:id="rId46"/>
    <p:sldLayoutId id="2147483751" r:id="rId47"/>
    <p:sldLayoutId id="2147483752" r:id="rId48"/>
    <p:sldLayoutId id="2147483753" r:id="rId49"/>
    <p:sldLayoutId id="2147483754" r:id="rId50"/>
    <p:sldLayoutId id="2147483755" r:id="rId51"/>
    <p:sldLayoutId id="2147483756" r:id="rId52"/>
    <p:sldLayoutId id="2147483757" r:id="rId53"/>
    <p:sldLayoutId id="2147483758" r:id="rId54"/>
    <p:sldLayoutId id="2147483759" r:id="rId55"/>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44D64F4-2353-C4B0-8C1C-C9B403747EDF}"/>
              </a:ext>
            </a:extLst>
          </p:cNvPr>
          <p:cNvGraphicFramePr>
            <a:graphicFrameLocks noChangeAspect="1"/>
          </p:cNvGraphicFramePr>
          <p:nvPr userDrawn="1">
            <p:custDataLst>
              <p:tags r:id="rId41"/>
            </p:custDataLst>
            <p:extLst>
              <p:ext uri="{D42A27DB-BD31-4B8C-83A1-F6EECF244321}">
                <p14:modId xmlns:p14="http://schemas.microsoft.com/office/powerpoint/2010/main" val="26127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622" imgH="623" progId="TCLayout.ActiveDocument.1">
                  <p:embed/>
                </p:oleObj>
              </mc:Choice>
              <mc:Fallback>
                <p:oleObj name="think-cell Slide" r:id="rId42" imgW="622" imgH="623" progId="TCLayout.ActiveDocument.1">
                  <p:embed/>
                  <p:pic>
                    <p:nvPicPr>
                      <p:cNvPr id="4" name="think-cell data - do not delete" hidden="1">
                        <a:extLst>
                          <a:ext uri="{FF2B5EF4-FFF2-40B4-BE49-F238E27FC236}">
                            <a16:creationId xmlns:a16="http://schemas.microsoft.com/office/drawing/2014/main" id="{744D64F4-2353-C4B0-8C1C-C9B403747EDF}"/>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auto">
          <a:xfrm>
            <a:off x="798618" y="312768"/>
            <a:ext cx="10590003" cy="748626"/>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a:t>Presentation title</a:t>
            </a:r>
            <a:br>
              <a:rPr lang="en-GB" noProof="0"/>
            </a:br>
            <a:r>
              <a:rPr lang="en-GB" noProof="0"/>
              <a:t>(in cyan)</a:t>
            </a:r>
          </a:p>
        </p:txBody>
      </p:sp>
      <p:sp>
        <p:nvSpPr>
          <p:cNvPr id="6" name="Slide Number Placeholder 5"/>
          <p:cNvSpPr>
            <a:spLocks noGrp="1"/>
          </p:cNvSpPr>
          <p:nvPr>
            <p:ph type="sldNum" sz="quarter" idx="4"/>
          </p:nvPr>
        </p:nvSpPr>
        <p:spPr>
          <a:xfrm>
            <a:off x="10908620" y="6280547"/>
            <a:ext cx="480001" cy="155575"/>
          </a:xfrm>
          <a:prstGeom prst="rect">
            <a:avLst/>
          </a:prstGeom>
        </p:spPr>
        <p:txBody>
          <a:bodyPr vert="horz" wrap="square" lIns="0" tIns="0" rIns="0" bIns="0" numCol="1" anchor="ctr" anchorCtr="0" compatLnSpc="1">
            <a:prstTxWarp prst="textNoShape">
              <a:avLst/>
            </a:prstTxWarp>
          </a:bodyPr>
          <a:lstStyle>
            <a:lvl1pPr algn="r">
              <a:defRPr sz="257" b="0" baseline="0"/>
            </a:lvl1pPr>
          </a:lstStyle>
          <a:p>
            <a:fld id="{31421AFA-3AE7-4CEA-BC9B-447859BED57B}" type="slidenum">
              <a:rPr lang="en-GB" smtClean="0"/>
              <a:pPr/>
              <a:t>‹nr.›</a:t>
            </a:fld>
            <a:endParaRPr lang="en-GB"/>
          </a:p>
        </p:txBody>
      </p:sp>
      <p:sp>
        <p:nvSpPr>
          <p:cNvPr id="1031" name="Rectangle 7"/>
          <p:cNvSpPr>
            <a:spLocks noGrp="1" noChangeArrowheads="1"/>
          </p:cNvSpPr>
          <p:nvPr>
            <p:ph type="body" idx="1"/>
          </p:nvPr>
        </p:nvSpPr>
        <p:spPr bwMode="auto">
          <a:xfrm>
            <a:off x="798617" y="1647827"/>
            <a:ext cx="10590003" cy="405923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4 No bullet text 18</a:t>
            </a:r>
          </a:p>
          <a:p>
            <a:pPr lvl="4"/>
            <a:r>
              <a:rPr lang="en-GB" noProof="0"/>
              <a:t>5 </a:t>
            </a:r>
            <a:r>
              <a:rPr lang="en-GB" noProof="0" err="1"/>
              <a:t>Megaheader</a:t>
            </a:r>
            <a:r>
              <a:rPr lang="en-GB" noProof="0"/>
              <a:t> caps 48</a:t>
            </a:r>
          </a:p>
          <a:p>
            <a:pPr lvl="5"/>
            <a:r>
              <a:rPr lang="en-GB" noProof="0"/>
              <a:t>6 Header caps 18</a:t>
            </a:r>
          </a:p>
          <a:p>
            <a:pPr lvl="6"/>
            <a:r>
              <a:rPr lang="en-GB" noProof="0"/>
              <a:t>7 Text 18</a:t>
            </a:r>
          </a:p>
          <a:p>
            <a:pPr lvl="7"/>
            <a:r>
              <a:rPr lang="en-GB" noProof="0"/>
              <a:t>8 Number 16</a:t>
            </a:r>
          </a:p>
          <a:p>
            <a:pPr lvl="8"/>
            <a:r>
              <a:rPr lang="en-GB" noProof="0"/>
              <a:t>9 Letter 16</a:t>
            </a:r>
          </a:p>
          <a:p>
            <a:pPr lvl="8"/>
            <a:endParaRPr lang="en-GB" noProof="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591" y="6280502"/>
            <a:ext cx="6515949" cy="155620"/>
          </a:xfrm>
          <a:prstGeom prst="rect">
            <a:avLst/>
          </a:prstGeom>
        </p:spPr>
        <p:txBody>
          <a:bodyPr vert="horz" wrap="square" lIns="0" tIns="0" rIns="0" bIns="0" numCol="1" anchor="ctr" anchorCtr="0" compatLnSpc="1">
            <a:prstTxWarp prst="textNoShape">
              <a:avLst/>
            </a:prstTxWarp>
          </a:bodyPr>
          <a:lstStyle>
            <a:lvl1pPr>
              <a:defRPr lang="en-GB" sz="257" baseline="0"/>
            </a:lvl1pPr>
          </a:lstStyle>
          <a:p>
            <a:pPr algn="r"/>
            <a:endParaRPr lang="en-GB"/>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3680" y="6141511"/>
            <a:ext cx="704941" cy="122327"/>
          </a:xfrm>
          <a:prstGeom prst="rect">
            <a:avLst/>
          </a:prstGeom>
        </p:spPr>
        <p:txBody>
          <a:bodyPr vert="horz" wrap="square" lIns="0" tIns="0" rIns="0" bIns="0" numCol="1" anchor="ctr" anchorCtr="0" compatLnSpc="1">
            <a:prstTxWarp prst="textNoShape">
              <a:avLst/>
            </a:prstTxWarp>
          </a:bodyPr>
          <a:lstStyle>
            <a:lvl1pPr>
              <a:defRPr lang="en-GB" sz="257" smtClean="0">
                <a:solidFill>
                  <a:schemeClr val="tx1"/>
                </a:solidFill>
              </a:defRPr>
            </a:lvl1pPr>
          </a:lstStyle>
          <a:p>
            <a:pPr algn="r"/>
            <a:fld id="{8E8A079D-0F01-4087-8466-404AA9697848}" type="datetime1">
              <a:rPr lang="da-DK" smtClean="0"/>
              <a:t>18.06.2024</a:t>
            </a:fld>
            <a:endParaRPr lang="da-DK"/>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350" y="1633992"/>
            <a:ext cx="1797025" cy="2906915"/>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4"/>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9" cy="13629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4073" marR="0" indent="-8145" algn="l" defTabSz="146621" rtl="0" eaLnBrk="0" fontAlgn="base" latinLnBrk="0" hangingPunct="0">
                  <a:spcBef>
                    <a:spcPct val="0"/>
                  </a:spcBef>
                  <a:spcAft>
                    <a:spcPts val="192"/>
                  </a:spcAft>
                  <a:buClrTx/>
                  <a:buSzTx/>
                  <a:tabLst/>
                </a:pP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LIST LEVELS (BULLET LEVELS) </a:t>
                </a: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b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br>
                <a:r>
                  <a:rPr kumimoji="0" lang="en-GB" sz="224" b="0" i="0" u="none" strike="noStrike" kern="1200" cap="none" spc="0" normalizeH="0" baseline="0" noProof="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449">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5"/>
            <a:stretch>
              <a:fillRect/>
            </a:stretch>
          </p:blipFill>
          <p:spPr>
            <a:xfrm>
              <a:off x="-1884053" y="1200637"/>
              <a:ext cx="1418614" cy="1444137"/>
            </a:xfrm>
            <a:prstGeom prst="rect">
              <a:avLst/>
            </a:prstGeom>
          </p:spPr>
        </p:pic>
      </p:grpSp>
      <p:sp>
        <p:nvSpPr>
          <p:cNvPr id="23" name="Rectangle 22">
            <a:extLst>
              <a:ext uri="{FF2B5EF4-FFF2-40B4-BE49-F238E27FC236}">
                <a16:creationId xmlns:a16="http://schemas.microsoft.com/office/drawing/2014/main" id="{6515BF35-693E-4749-821E-5148CED147C8}"/>
              </a:ext>
            </a:extLst>
          </p:cNvPr>
          <p:cNvSpPr/>
          <p:nvPr userDrawn="1"/>
        </p:nvSpPr>
        <p:spPr>
          <a:xfrm>
            <a:off x="2052092" y="6141510"/>
            <a:ext cx="1573351" cy="27220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577"/>
          </a:p>
        </p:txBody>
      </p:sp>
    </p:spTree>
    <p:extLst>
      <p:ext uri="{BB962C8B-B14F-4D97-AF65-F5344CB8AC3E}">
        <p14:creationId xmlns:p14="http://schemas.microsoft.com/office/powerpoint/2010/main" val="3607171491"/>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 id="2147483777" r:id="rId17"/>
    <p:sldLayoutId id="2147483778" r:id="rId18"/>
    <p:sldLayoutId id="2147483779" r:id="rId19"/>
    <p:sldLayoutId id="2147483780" r:id="rId20"/>
    <p:sldLayoutId id="2147483781" r:id="rId21"/>
    <p:sldLayoutId id="2147483782" r:id="rId22"/>
    <p:sldLayoutId id="2147483783" r:id="rId23"/>
    <p:sldLayoutId id="2147483784" r:id="rId24"/>
    <p:sldLayoutId id="2147483785" r:id="rId25"/>
    <p:sldLayoutId id="2147483786" r:id="rId26"/>
    <p:sldLayoutId id="2147483787" r:id="rId27"/>
    <p:sldLayoutId id="2147483788" r:id="rId28"/>
    <p:sldLayoutId id="2147483789" r:id="rId29"/>
    <p:sldLayoutId id="2147483790" r:id="rId30"/>
    <p:sldLayoutId id="2147483791" r:id="rId31"/>
    <p:sldLayoutId id="2147483792" r:id="rId32"/>
    <p:sldLayoutId id="2147483793" r:id="rId33"/>
    <p:sldLayoutId id="2147483794" r:id="rId34"/>
    <p:sldLayoutId id="2147483795" r:id="rId35"/>
    <p:sldLayoutId id="2147483796" r:id="rId36"/>
    <p:sldLayoutId id="2147483797" r:id="rId37"/>
    <p:sldLayoutId id="2147483798" r:id="rId38"/>
    <p:sldLayoutId id="2147483799" r:id="rId39"/>
  </p:sldLayoutIdLst>
  <p:hf sldNum="0" hdr="0" ftr="0" dt="0"/>
  <p:txStyles>
    <p:titleStyle>
      <a:lvl1pPr algn="l" defTabSz="146618" rtl="0" eaLnBrk="1" fontAlgn="base" hangingPunct="1">
        <a:spcBef>
          <a:spcPct val="0"/>
        </a:spcBef>
        <a:spcAft>
          <a:spcPct val="0"/>
        </a:spcAft>
        <a:defRPr sz="770" b="1" kern="1200" cap="all" spc="-16" baseline="0">
          <a:solidFill>
            <a:schemeClr val="tx2"/>
          </a:solidFill>
          <a:latin typeface="Verdana"/>
          <a:ea typeface="Verdana" pitchFamily="34" charset="0"/>
          <a:cs typeface="Verdana" pitchFamily="34" charset="0"/>
        </a:defRPr>
      </a:lvl1pPr>
      <a:lvl2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2pPr>
      <a:lvl3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3pPr>
      <a:lvl4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4pPr>
      <a:lvl5pPr algn="l" defTabSz="146618" rtl="0" eaLnBrk="1" fontAlgn="base" hangingPunct="1">
        <a:spcBef>
          <a:spcPct val="0"/>
        </a:spcBef>
        <a:spcAft>
          <a:spcPct val="0"/>
        </a:spcAft>
        <a:defRPr sz="770" b="1">
          <a:solidFill>
            <a:schemeClr val="tx2"/>
          </a:solidFill>
          <a:latin typeface="Verdana" pitchFamily="-111" charset="0"/>
          <a:ea typeface="Verdana" pitchFamily="34" charset="0"/>
          <a:cs typeface="Verdana" pitchFamily="34" charset="0"/>
        </a:defRPr>
      </a:lvl5pPr>
      <a:lvl6pPr marL="146618"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6pPr>
      <a:lvl7pPr marL="293235"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7pPr>
      <a:lvl8pPr marL="439852"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8pPr>
      <a:lvl9pPr marL="586470" algn="l" defTabSz="146618" rtl="0" eaLnBrk="1" fontAlgn="base" hangingPunct="1">
        <a:spcBef>
          <a:spcPct val="0"/>
        </a:spcBef>
        <a:spcAft>
          <a:spcPct val="0"/>
        </a:spcAft>
        <a:defRPr sz="1026" b="1">
          <a:solidFill>
            <a:schemeClr val="bg1"/>
          </a:solidFill>
          <a:latin typeface="Verdana" pitchFamily="-111" charset="0"/>
          <a:ea typeface="Verdana" pitchFamily="34" charset="0"/>
          <a:cs typeface="Verdana" pitchFamily="34" charset="0"/>
        </a:defRPr>
      </a:lvl9pPr>
    </p:titleStyle>
    <p:bodyStyle>
      <a:lvl1pPr marL="80815" indent="-80815" algn="l" defTabSz="146618" rtl="0" eaLnBrk="1" fontAlgn="base" hangingPunct="1">
        <a:lnSpc>
          <a:spcPct val="100000"/>
        </a:lnSpc>
        <a:spcBef>
          <a:spcPct val="0"/>
        </a:spcBef>
        <a:spcAft>
          <a:spcPts val="385"/>
        </a:spcAft>
        <a:buFont typeface="Verdana" pitchFamily="34" charset="0"/>
        <a:buChar char="•"/>
        <a:defRPr kern="1200" spc="-16" baseline="0">
          <a:solidFill>
            <a:schemeClr val="tx1"/>
          </a:solidFill>
          <a:latin typeface="Verdana"/>
          <a:ea typeface="Verdana" pitchFamily="34" charset="0"/>
          <a:cs typeface="Verdana" pitchFamily="34" charset="0"/>
        </a:defRPr>
      </a:lvl1pPr>
      <a:lvl2pPr marL="207809" indent="-80815" algn="l" defTabSz="146618" rtl="0" eaLnBrk="1" fontAlgn="base" hangingPunct="1">
        <a:lnSpc>
          <a:spcPct val="100000"/>
        </a:lnSpc>
        <a:spcBef>
          <a:spcPct val="0"/>
        </a:spcBef>
        <a:spcAft>
          <a:spcPts val="385"/>
        </a:spcAft>
        <a:buFont typeface="Verdana" pitchFamily="34" charset="0"/>
        <a:buChar char="•"/>
        <a:defRPr sz="513" kern="1200" spc="-16" baseline="0">
          <a:solidFill>
            <a:schemeClr val="tx1"/>
          </a:solidFill>
          <a:latin typeface="Verdana"/>
          <a:ea typeface="Verdana" pitchFamily="34" charset="0"/>
          <a:cs typeface="+mn-cs"/>
        </a:defRPr>
      </a:lvl2pPr>
      <a:lvl3pPr marL="314023" indent="-80815" algn="l" defTabSz="146618" rtl="0" eaLnBrk="1" fontAlgn="base" hangingPunct="1">
        <a:lnSpc>
          <a:spcPct val="100000"/>
        </a:lnSpc>
        <a:spcBef>
          <a:spcPct val="0"/>
        </a:spcBef>
        <a:spcAft>
          <a:spcPts val="385"/>
        </a:spcAft>
        <a:buFont typeface="Verdana" pitchFamily="34" charset="0"/>
        <a:buChar char="•"/>
        <a:defRPr sz="449" kern="1200" spc="-16" baseline="0">
          <a:solidFill>
            <a:schemeClr val="tx1"/>
          </a:solidFill>
          <a:latin typeface="Verdana"/>
          <a:ea typeface="Verdana" pitchFamily="34" charset="0"/>
          <a:cs typeface="+mn-cs"/>
        </a:defRPr>
      </a:lvl3pPr>
      <a:lvl4pPr marL="0" indent="0" algn="l" defTabSz="146618" rtl="0" eaLnBrk="1" fontAlgn="base" hangingPunct="1">
        <a:lnSpc>
          <a:spcPct val="100000"/>
        </a:lnSpc>
        <a:spcBef>
          <a:spcPct val="0"/>
        </a:spcBef>
        <a:spcAft>
          <a:spcPts val="385"/>
        </a:spcAft>
        <a:buFont typeface="Arial" panose="020B0604020202020204" pitchFamily="34" charset="0"/>
        <a:buChar char="​"/>
        <a:defRPr sz="577" kern="1200" spc="-16" baseline="0">
          <a:solidFill>
            <a:schemeClr val="tx1"/>
          </a:solidFill>
          <a:latin typeface="Verdana"/>
          <a:ea typeface="Verdana" pitchFamily="34" charset="0"/>
          <a:cs typeface="+mn-cs"/>
        </a:defRPr>
      </a:lvl4pPr>
      <a:lvl5pPr marL="0" indent="0" algn="l" defTabSz="146618" rtl="0" eaLnBrk="1" fontAlgn="base" hangingPunct="1">
        <a:lnSpc>
          <a:spcPct val="80000"/>
        </a:lnSpc>
        <a:spcBef>
          <a:spcPct val="0"/>
        </a:spcBef>
        <a:spcAft>
          <a:spcPts val="385"/>
        </a:spcAft>
        <a:buFont typeface="Arial" panose="020B0604020202020204" pitchFamily="34" charset="0"/>
        <a:buChar char="​"/>
        <a:defRPr sz="1539" b="1" kern="1200" cap="all" spc="-32" baseline="0">
          <a:solidFill>
            <a:schemeClr val="tx1"/>
          </a:solidFill>
          <a:latin typeface="Verdana"/>
          <a:ea typeface="Verdana" pitchFamily="34" charset="0"/>
          <a:cs typeface="+mn-cs"/>
        </a:defRPr>
      </a:lvl5pPr>
      <a:lvl6pPr marL="0" indent="0" algn="l" defTabSz="146618" rtl="0" eaLnBrk="1" latinLnBrk="0" hangingPunct="1">
        <a:spcBef>
          <a:spcPts val="0"/>
        </a:spcBef>
        <a:spcAft>
          <a:spcPts val="192"/>
        </a:spcAft>
        <a:buClr>
          <a:schemeClr val="tx2"/>
        </a:buClr>
        <a:buFont typeface="Arial" panose="020B0604020202020204" pitchFamily="34" charset="0"/>
        <a:buChar char="​"/>
        <a:defRPr sz="577" b="1" kern="1200" cap="all" spc="-16" baseline="0">
          <a:solidFill>
            <a:schemeClr val="tx2"/>
          </a:solidFill>
          <a:latin typeface="+mn-lt"/>
          <a:ea typeface="+mn-ea"/>
          <a:cs typeface="+mn-cs"/>
        </a:defRPr>
      </a:lvl6pPr>
      <a:lvl7pPr marL="0" indent="0" algn="l" defTabSz="146618" rtl="0" eaLnBrk="1" latinLnBrk="0" hangingPunct="1">
        <a:spcBef>
          <a:spcPts val="0"/>
        </a:spcBef>
        <a:spcAft>
          <a:spcPts val="385"/>
        </a:spcAft>
        <a:buFont typeface="Arial" panose="020B0604020202020204" pitchFamily="34" charset="0"/>
        <a:buChar char="​"/>
        <a:defRPr sz="577" i="0" kern="1200" spc="-16">
          <a:solidFill>
            <a:schemeClr val="bg2"/>
          </a:solidFill>
          <a:latin typeface="+mn-lt"/>
          <a:ea typeface="+mn-ea"/>
          <a:cs typeface="+mn-cs"/>
        </a:defRPr>
      </a:lvl7pPr>
      <a:lvl8pPr marL="207809" indent="-80815" algn="l" defTabSz="146618" rtl="0" eaLnBrk="1" latinLnBrk="0" hangingPunct="1">
        <a:spcBef>
          <a:spcPts val="0"/>
        </a:spcBef>
        <a:spcAft>
          <a:spcPts val="385"/>
        </a:spcAft>
        <a:buClr>
          <a:schemeClr val="bg2"/>
        </a:buClr>
        <a:buFont typeface="+mj-lt"/>
        <a:buAutoNum type="arabicPeriod"/>
        <a:defRPr sz="513" kern="1200" spc="-16">
          <a:solidFill>
            <a:schemeClr val="tx1"/>
          </a:solidFill>
          <a:latin typeface="+mn-lt"/>
          <a:ea typeface="+mn-ea"/>
          <a:cs typeface="+mn-cs"/>
        </a:defRPr>
      </a:lvl8pPr>
      <a:lvl9pPr marL="207809" indent="-80815" algn="l" defTabSz="146618" rtl="0" eaLnBrk="1" latinLnBrk="0" hangingPunct="1">
        <a:spcBef>
          <a:spcPts val="0"/>
        </a:spcBef>
        <a:spcAft>
          <a:spcPts val="385"/>
        </a:spcAft>
        <a:buClr>
          <a:schemeClr val="bg2"/>
        </a:buClr>
        <a:buFont typeface="+mj-lt"/>
        <a:buAutoNum type="alphaUcPeriod"/>
        <a:defRPr sz="513" kern="1200" spc="-16">
          <a:solidFill>
            <a:schemeClr val="tx1"/>
          </a:solidFill>
          <a:latin typeface="+mn-lt"/>
          <a:ea typeface="+mn-ea"/>
          <a:cs typeface="+mn-cs"/>
        </a:defRPr>
      </a:lvl9pPr>
    </p:bodyStyle>
    <p:otherStyle>
      <a:defPPr>
        <a:defRPr lang="en-US"/>
      </a:defPPr>
      <a:lvl1pPr marL="0" algn="l" defTabSz="146618" rtl="0" eaLnBrk="1" latinLnBrk="0" hangingPunct="1">
        <a:defRPr sz="609" kern="1200">
          <a:solidFill>
            <a:schemeClr val="tx1"/>
          </a:solidFill>
          <a:latin typeface="+mn-lt"/>
          <a:ea typeface="+mn-ea"/>
          <a:cs typeface="+mn-cs"/>
        </a:defRPr>
      </a:lvl1pPr>
      <a:lvl2pPr marL="146618" algn="l" defTabSz="146618" rtl="0" eaLnBrk="1" latinLnBrk="0" hangingPunct="1">
        <a:defRPr sz="609" kern="1200">
          <a:solidFill>
            <a:schemeClr val="tx1"/>
          </a:solidFill>
          <a:latin typeface="+mn-lt"/>
          <a:ea typeface="+mn-ea"/>
          <a:cs typeface="+mn-cs"/>
        </a:defRPr>
      </a:lvl2pPr>
      <a:lvl3pPr marL="293235" algn="l" defTabSz="146618" rtl="0" eaLnBrk="1" latinLnBrk="0" hangingPunct="1">
        <a:defRPr sz="609" kern="1200">
          <a:solidFill>
            <a:schemeClr val="tx1"/>
          </a:solidFill>
          <a:latin typeface="+mn-lt"/>
          <a:ea typeface="+mn-ea"/>
          <a:cs typeface="+mn-cs"/>
        </a:defRPr>
      </a:lvl3pPr>
      <a:lvl4pPr marL="439852" algn="l" defTabSz="146618" rtl="0" eaLnBrk="1" latinLnBrk="0" hangingPunct="1">
        <a:defRPr sz="609" kern="1200">
          <a:solidFill>
            <a:schemeClr val="tx1"/>
          </a:solidFill>
          <a:latin typeface="+mn-lt"/>
          <a:ea typeface="+mn-ea"/>
          <a:cs typeface="+mn-cs"/>
        </a:defRPr>
      </a:lvl4pPr>
      <a:lvl5pPr marL="586470" algn="l" defTabSz="146618" rtl="0" eaLnBrk="1" latinLnBrk="0" hangingPunct="1">
        <a:defRPr sz="609" kern="1200">
          <a:solidFill>
            <a:schemeClr val="tx1"/>
          </a:solidFill>
          <a:latin typeface="+mn-lt"/>
          <a:ea typeface="+mn-ea"/>
          <a:cs typeface="+mn-cs"/>
        </a:defRPr>
      </a:lvl5pPr>
      <a:lvl6pPr marL="733087" algn="l" defTabSz="146618" rtl="0" eaLnBrk="1" latinLnBrk="0" hangingPunct="1">
        <a:defRPr sz="609" kern="1200">
          <a:solidFill>
            <a:schemeClr val="tx1"/>
          </a:solidFill>
          <a:latin typeface="+mn-lt"/>
          <a:ea typeface="+mn-ea"/>
          <a:cs typeface="+mn-cs"/>
        </a:defRPr>
      </a:lvl6pPr>
      <a:lvl7pPr marL="879704" algn="l" defTabSz="146618" rtl="0" eaLnBrk="1" latinLnBrk="0" hangingPunct="1">
        <a:defRPr sz="609" kern="1200">
          <a:solidFill>
            <a:schemeClr val="tx1"/>
          </a:solidFill>
          <a:latin typeface="+mn-lt"/>
          <a:ea typeface="+mn-ea"/>
          <a:cs typeface="+mn-cs"/>
        </a:defRPr>
      </a:lvl7pPr>
      <a:lvl8pPr marL="1026321" algn="l" defTabSz="146618" rtl="0" eaLnBrk="1" latinLnBrk="0" hangingPunct="1">
        <a:defRPr sz="609" kern="1200">
          <a:solidFill>
            <a:schemeClr val="tx1"/>
          </a:solidFill>
          <a:latin typeface="+mn-lt"/>
          <a:ea typeface="+mn-ea"/>
          <a:cs typeface="+mn-cs"/>
        </a:defRPr>
      </a:lvl8pPr>
      <a:lvl9pPr marL="1172939" algn="l" defTabSz="146618" rtl="0" eaLnBrk="1" latinLnBrk="0" hangingPunct="1">
        <a:defRPr sz="609"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538">
          <p15:clr>
            <a:srgbClr val="F26B43"/>
          </p15:clr>
        </p15:guide>
        <p15:guide id="2" pos="17814">
          <p15:clr>
            <a:srgbClr val="F26B43"/>
          </p15:clr>
        </p15:guide>
        <p15:guide id="3" orient="horz" pos="3230">
          <p15:clr>
            <a:srgbClr val="F26B43"/>
          </p15:clr>
        </p15:guide>
        <p15:guide id="4" orient="horz" pos="11207">
          <p15:clr>
            <a:srgbClr val="F26B43"/>
          </p15:clr>
        </p15:guide>
        <p15:guide id="5" pos="15264">
          <p15:clr>
            <a:srgbClr val="F26B43"/>
          </p15:clr>
        </p15:guide>
        <p15:guide id="6" pos="13990">
          <p15:clr>
            <a:srgbClr val="F26B43"/>
          </p15:clr>
        </p15:guide>
        <p15:guide id="7" pos="12715">
          <p15:clr>
            <a:srgbClr val="F26B43"/>
          </p15:clr>
        </p15:guide>
        <p15:guide id="8" pos="11443">
          <p15:clr>
            <a:srgbClr val="F26B43"/>
          </p15:clr>
        </p15:guide>
        <p15:guide id="9" pos="10168">
          <p15:clr>
            <a:srgbClr val="F26B43"/>
          </p15:clr>
        </p15:guide>
        <p15:guide id="10" pos="8894">
          <p15:clr>
            <a:srgbClr val="F26B43"/>
          </p15:clr>
        </p15:guide>
        <p15:guide id="11" pos="7618">
          <p15:clr>
            <a:srgbClr val="F26B43"/>
          </p15:clr>
        </p15:guide>
        <p15:guide id="12" pos="6346">
          <p15:clr>
            <a:srgbClr val="F26B43"/>
          </p15:clr>
        </p15:guide>
        <p15:guide id="13" pos="5071">
          <p15:clr>
            <a:srgbClr val="F26B43"/>
          </p15:clr>
        </p15:guide>
        <p15:guide id="14" pos="3797">
          <p15:clr>
            <a:srgbClr val="F26B43"/>
          </p15:clr>
        </p15:guide>
        <p15:guide id="15" pos="2523">
          <p15:clr>
            <a:srgbClr val="F26B43"/>
          </p15:clr>
        </p15:guide>
        <p15:guide id="16" pos="124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notesSlide" Target="../notesSlides/notesSlide10.xml"/><Relationship Id="rId7" Type="http://schemas.openxmlformats.org/officeDocument/2006/relationships/image" Target="../media/image59.svg"/><Relationship Id="rId2" Type="http://schemas.openxmlformats.org/officeDocument/2006/relationships/slideLayout" Target="../slideLayouts/slideLayout10.xml"/><Relationship Id="rId1" Type="http://schemas.openxmlformats.org/officeDocument/2006/relationships/tags" Target="../tags/tag123.x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122.bin"/><Relationship Id="rId9" Type="http://schemas.openxmlformats.org/officeDocument/2006/relationships/image" Target="../media/image61.svg"/></Relationships>
</file>

<file path=ppt/slides/_rels/slide11.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notesSlide" Target="../notesSlides/notesSlide11.xml"/><Relationship Id="rId7" Type="http://schemas.openxmlformats.org/officeDocument/2006/relationships/image" Target="../media/image62.png"/><Relationship Id="rId2" Type="http://schemas.openxmlformats.org/officeDocument/2006/relationships/slideLayout" Target="../slideLayouts/slideLayout10.xml"/><Relationship Id="rId1" Type="http://schemas.openxmlformats.org/officeDocument/2006/relationships/tags" Target="../tags/tag124.xml"/><Relationship Id="rId6" Type="http://schemas.openxmlformats.org/officeDocument/2006/relationships/hyperlink" Target="mailto:mvd-skole@aalborg.dk" TargetMode="Externa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12.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2.xml"/><Relationship Id="rId7" Type="http://schemas.openxmlformats.org/officeDocument/2006/relationships/image" Target="../media/image65.svg"/><Relationship Id="rId2" Type="http://schemas.openxmlformats.org/officeDocument/2006/relationships/slideLayout" Target="../slideLayouts/slideLayout10.xml"/><Relationship Id="rId1" Type="http://schemas.openxmlformats.org/officeDocument/2006/relationships/tags" Target="../tags/tag125.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124.bin"/><Relationship Id="rId9" Type="http://schemas.openxmlformats.org/officeDocument/2006/relationships/image" Target="../media/image67.svg"/></Relationships>
</file>

<file path=ppt/slides/_rels/slide13.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3.xml"/><Relationship Id="rId7" Type="http://schemas.openxmlformats.org/officeDocument/2006/relationships/image" Target="../media/image65.svg"/><Relationship Id="rId2" Type="http://schemas.openxmlformats.org/officeDocument/2006/relationships/slideLayout" Target="../slideLayouts/slideLayout10.xml"/><Relationship Id="rId1" Type="http://schemas.openxmlformats.org/officeDocument/2006/relationships/tags" Target="../tags/tag126.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125.bin"/><Relationship Id="rId9" Type="http://schemas.openxmlformats.org/officeDocument/2006/relationships/image" Target="../media/image67.svg"/></Relationships>
</file>

<file path=ppt/slides/_rels/slide14.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4.xml"/><Relationship Id="rId7" Type="http://schemas.openxmlformats.org/officeDocument/2006/relationships/image" Target="../media/image65.svg"/><Relationship Id="rId2" Type="http://schemas.openxmlformats.org/officeDocument/2006/relationships/slideLayout" Target="../slideLayouts/slideLayout10.xml"/><Relationship Id="rId1" Type="http://schemas.openxmlformats.org/officeDocument/2006/relationships/tags" Target="../tags/tag127.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126.bin"/><Relationship Id="rId9" Type="http://schemas.openxmlformats.org/officeDocument/2006/relationships/image" Target="../media/image67.svg"/></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notesSlide" Target="../notesSlides/notesSlide15.xml"/><Relationship Id="rId7" Type="http://schemas.openxmlformats.org/officeDocument/2006/relationships/image" Target="../media/image65.svg"/><Relationship Id="rId2" Type="http://schemas.openxmlformats.org/officeDocument/2006/relationships/slideLayout" Target="../slideLayouts/slideLayout10.xml"/><Relationship Id="rId1" Type="http://schemas.openxmlformats.org/officeDocument/2006/relationships/tags" Target="../tags/tag128.xml"/><Relationship Id="rId6" Type="http://schemas.openxmlformats.org/officeDocument/2006/relationships/image" Target="../media/image64.png"/><Relationship Id="rId11" Type="http://schemas.openxmlformats.org/officeDocument/2006/relationships/image" Target="../media/image69.svg"/><Relationship Id="rId5" Type="http://schemas.openxmlformats.org/officeDocument/2006/relationships/image" Target="../media/image1.emf"/><Relationship Id="rId10" Type="http://schemas.openxmlformats.org/officeDocument/2006/relationships/image" Target="../media/image68.png"/><Relationship Id="rId4" Type="http://schemas.openxmlformats.org/officeDocument/2006/relationships/oleObject" Target="../embeddings/oleObject127.bin"/><Relationship Id="rId9" Type="http://schemas.openxmlformats.org/officeDocument/2006/relationships/image" Target="../media/image67.svg"/></Relationships>
</file>

<file path=ppt/slides/_rels/slide16.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notesSlide" Target="../notesSlides/notesSlide16.xml"/><Relationship Id="rId7" Type="http://schemas.openxmlformats.org/officeDocument/2006/relationships/image" Target="../media/image71.svg"/><Relationship Id="rId2" Type="http://schemas.openxmlformats.org/officeDocument/2006/relationships/slideLayout" Target="../slideLayouts/slideLayout10.xml"/><Relationship Id="rId1" Type="http://schemas.openxmlformats.org/officeDocument/2006/relationships/tags" Target="../tags/tag129.xml"/><Relationship Id="rId6" Type="http://schemas.openxmlformats.org/officeDocument/2006/relationships/image" Target="../media/image70.png"/><Relationship Id="rId5" Type="http://schemas.openxmlformats.org/officeDocument/2006/relationships/image" Target="../media/image1.emf"/><Relationship Id="rId4" Type="http://schemas.openxmlformats.org/officeDocument/2006/relationships/oleObject" Target="../embeddings/oleObject128.bin"/><Relationship Id="rId9" Type="http://schemas.openxmlformats.org/officeDocument/2006/relationships/image" Target="../media/image73.svg"/></Relationships>
</file>

<file path=ppt/slides/_rels/slide1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17.xml"/><Relationship Id="rId7" Type="http://schemas.openxmlformats.org/officeDocument/2006/relationships/image" Target="../media/image57.svg"/><Relationship Id="rId2" Type="http://schemas.openxmlformats.org/officeDocument/2006/relationships/slideLayout" Target="../slideLayouts/slideLayout10.xml"/><Relationship Id="rId1" Type="http://schemas.openxmlformats.org/officeDocument/2006/relationships/tags" Target="../tags/tag130.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29.bin"/></Relationships>
</file>

<file path=ppt/slides/_rels/slide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18" Type="http://schemas.openxmlformats.org/officeDocument/2006/relationships/image" Target="../media/image38.png"/><Relationship Id="rId3" Type="http://schemas.openxmlformats.org/officeDocument/2006/relationships/notesSlide" Target="../notesSlides/notesSlide2.xml"/><Relationship Id="rId21" Type="http://schemas.openxmlformats.org/officeDocument/2006/relationships/image" Target="../media/image41.svg"/><Relationship Id="rId7" Type="http://schemas.openxmlformats.org/officeDocument/2006/relationships/image" Target="../media/image27.svg"/><Relationship Id="rId12" Type="http://schemas.openxmlformats.org/officeDocument/2006/relationships/image" Target="../media/image32.png"/><Relationship Id="rId17" Type="http://schemas.openxmlformats.org/officeDocument/2006/relationships/image" Target="../media/image37.svg"/><Relationship Id="rId25" Type="http://schemas.openxmlformats.org/officeDocument/2006/relationships/image" Target="../media/image45.svg"/><Relationship Id="rId2" Type="http://schemas.openxmlformats.org/officeDocument/2006/relationships/slideLayout" Target="../slideLayouts/slideLayout10.xml"/><Relationship Id="rId16" Type="http://schemas.openxmlformats.org/officeDocument/2006/relationships/image" Target="../media/image36.png"/><Relationship Id="rId20" Type="http://schemas.openxmlformats.org/officeDocument/2006/relationships/image" Target="../media/image40.png"/><Relationship Id="rId1" Type="http://schemas.openxmlformats.org/officeDocument/2006/relationships/tags" Target="../tags/tag115.xml"/><Relationship Id="rId6" Type="http://schemas.openxmlformats.org/officeDocument/2006/relationships/image" Target="../media/image26.png"/><Relationship Id="rId11" Type="http://schemas.openxmlformats.org/officeDocument/2006/relationships/image" Target="../media/image31.svg"/><Relationship Id="rId24" Type="http://schemas.openxmlformats.org/officeDocument/2006/relationships/image" Target="../media/image44.png"/><Relationship Id="rId5" Type="http://schemas.openxmlformats.org/officeDocument/2006/relationships/image" Target="../media/image1.emf"/><Relationship Id="rId15" Type="http://schemas.openxmlformats.org/officeDocument/2006/relationships/image" Target="../media/image35.svg"/><Relationship Id="rId23" Type="http://schemas.openxmlformats.org/officeDocument/2006/relationships/image" Target="../media/image43.svg"/><Relationship Id="rId10" Type="http://schemas.openxmlformats.org/officeDocument/2006/relationships/image" Target="../media/image30.png"/><Relationship Id="rId19" Type="http://schemas.openxmlformats.org/officeDocument/2006/relationships/image" Target="../media/image39.svg"/><Relationship Id="rId4" Type="http://schemas.openxmlformats.org/officeDocument/2006/relationships/oleObject" Target="../embeddings/oleObject114.bin"/><Relationship Id="rId9" Type="http://schemas.openxmlformats.org/officeDocument/2006/relationships/image" Target="../media/image29.svg"/><Relationship Id="rId14" Type="http://schemas.openxmlformats.org/officeDocument/2006/relationships/image" Target="../media/image34.png"/><Relationship Id="rId22" Type="http://schemas.openxmlformats.org/officeDocument/2006/relationships/image" Target="../media/image42.png"/></Relationships>
</file>

<file path=ppt/slides/_rels/slide3.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3.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tags" Target="../tags/tag116.xml"/><Relationship Id="rId6" Type="http://schemas.openxmlformats.org/officeDocument/2006/relationships/oleObject" Target="../embeddings/oleObject115.bin"/><Relationship Id="rId5" Type="http://schemas.openxmlformats.org/officeDocument/2006/relationships/image" Target="../media/image47.svg"/><Relationship Id="rId4" Type="http://schemas.openxmlformats.org/officeDocument/2006/relationships/image" Target="../media/image46.png"/><Relationship Id="rId9" Type="http://schemas.openxmlformats.org/officeDocument/2006/relationships/image" Target="../media/image49.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17.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16.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18.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17.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19.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1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51.svg"/><Relationship Id="rId2" Type="http://schemas.openxmlformats.org/officeDocument/2006/relationships/slideLayout" Target="../slideLayouts/slideLayout10.xml"/><Relationship Id="rId1" Type="http://schemas.openxmlformats.org/officeDocument/2006/relationships/tags" Target="../tags/tag120.xml"/><Relationship Id="rId6" Type="http://schemas.openxmlformats.org/officeDocument/2006/relationships/image" Target="../media/image50.png"/><Relationship Id="rId5" Type="http://schemas.openxmlformats.org/officeDocument/2006/relationships/image" Target="../media/image1.emf"/><Relationship Id="rId4" Type="http://schemas.openxmlformats.org/officeDocument/2006/relationships/oleObject" Target="../embeddings/oleObject119.bin"/></Relationships>
</file>

<file path=ppt/slides/_rels/slide8.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8.xml"/><Relationship Id="rId7" Type="http://schemas.openxmlformats.org/officeDocument/2006/relationships/image" Target="../media/image1.emf"/><Relationship Id="rId2" Type="http://schemas.openxmlformats.org/officeDocument/2006/relationships/slideLayout" Target="../slideLayouts/slideLayout10.xml"/><Relationship Id="rId1" Type="http://schemas.openxmlformats.org/officeDocument/2006/relationships/tags" Target="../tags/tag121.xml"/><Relationship Id="rId6" Type="http://schemas.openxmlformats.org/officeDocument/2006/relationships/oleObject" Target="../embeddings/oleObject120.bin"/><Relationship Id="rId5" Type="http://schemas.openxmlformats.org/officeDocument/2006/relationships/image" Target="../media/image53.svg"/><Relationship Id="rId4" Type="http://schemas.openxmlformats.org/officeDocument/2006/relationships/image" Target="../media/image52.png"/><Relationship Id="rId9" Type="http://schemas.openxmlformats.org/officeDocument/2006/relationships/image" Target="../media/image55.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57.svg"/><Relationship Id="rId2" Type="http://schemas.openxmlformats.org/officeDocument/2006/relationships/slideLayout" Target="../slideLayouts/slideLayout10.xml"/><Relationship Id="rId1" Type="http://schemas.openxmlformats.org/officeDocument/2006/relationships/tags" Target="../tags/tag122.xml"/><Relationship Id="rId6" Type="http://schemas.openxmlformats.org/officeDocument/2006/relationships/image" Target="../media/image56.png"/><Relationship Id="rId5" Type="http://schemas.openxmlformats.org/officeDocument/2006/relationships/image" Target="../media/image1.emf"/><Relationship Id="rId4" Type="http://schemas.openxmlformats.org/officeDocument/2006/relationships/oleObject" Target="../embeddings/oleObject12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EC62CC9-DAC0-7AE8-5F1B-AF176413630D}"/>
              </a:ext>
            </a:extLst>
          </p:cNvPr>
          <p:cNvSpPr>
            <a:spLocks noGrp="1"/>
          </p:cNvSpPr>
          <p:nvPr>
            <p:ph type="sldNum" sz="quarter" idx="17"/>
          </p:nvPr>
        </p:nvSpPr>
        <p:spPr/>
        <p:txBody>
          <a:bodyPr/>
          <a:lstStyle/>
          <a:p>
            <a:fld id="{23AA811B-2EBD-4900-905E-5BE206449611}" type="slidenum">
              <a:rPr lang="da-DK" smtClean="0"/>
              <a:pPr/>
              <a:t>1</a:t>
            </a:fld>
            <a:endParaRPr lang="da-DK"/>
          </a:p>
        </p:txBody>
      </p:sp>
      <p:sp>
        <p:nvSpPr>
          <p:cNvPr id="5" name="Google Shape;694;p13">
            <a:extLst>
              <a:ext uri="{FF2B5EF4-FFF2-40B4-BE49-F238E27FC236}">
                <a16:creationId xmlns:a16="http://schemas.microsoft.com/office/drawing/2014/main" id="{AD3D37A8-46DD-F98B-6B94-348909E4AB67}"/>
              </a:ext>
            </a:extLst>
          </p:cNvPr>
          <p:cNvSpPr txBox="1">
            <a:spLocks noGrp="1"/>
          </p:cNvSpPr>
          <p:nvPr>
            <p:ph type="ctrTitle"/>
          </p:nvPr>
        </p:nvSpPr>
        <p:spPr>
          <a:xfrm>
            <a:off x="2194560" y="2590197"/>
            <a:ext cx="7951304" cy="1984631"/>
          </a:xfrm>
          <a:prstGeom prst="rect">
            <a:avLst/>
          </a:prstGeom>
        </p:spPr>
        <p:txBody>
          <a:bodyPr spcFirstLastPara="1" wrap="square" lIns="0" tIns="0" rIns="0" bIns="0" anchor="ctr" anchorCtr="0">
            <a:noAutofit/>
          </a:bodyPr>
          <a:lstStyle/>
          <a:p>
            <a:pPr algn="ctr"/>
            <a:r>
              <a:rPr lang="da-DK" sz="4800" b="1">
                <a:latin typeface="Amatic SC" panose="00000500000000000000" pitchFamily="2" charset="-79"/>
                <a:cs typeface="Amatic SC" panose="00000500000000000000" pitchFamily="2" charset="-79"/>
              </a:rPr>
              <a:t>Procesgreb:</a:t>
            </a:r>
            <a:br>
              <a:rPr lang="da-DK" sz="4800" b="1">
                <a:latin typeface="Amatic SC" panose="00000500000000000000" pitchFamily="2" charset="-79"/>
                <a:cs typeface="Amatic SC" panose="00000500000000000000" pitchFamily="2" charset="-79"/>
              </a:rPr>
            </a:br>
            <a:r>
              <a:rPr lang="da-DK" sz="4800" b="1">
                <a:latin typeface="Amatic SC" panose="00000500000000000000" pitchFamily="2" charset="-79"/>
                <a:cs typeface="Amatic SC" panose="00000500000000000000" pitchFamily="2" charset="-79"/>
              </a:rPr>
              <a:t>Sådan kan I arbejde med resultaterne </a:t>
            </a:r>
            <a:br>
              <a:rPr lang="da-DK" sz="4800" b="1">
                <a:latin typeface="Amatic SC" panose="00000500000000000000" pitchFamily="2" charset="-79"/>
                <a:cs typeface="Amatic SC" panose="00000500000000000000" pitchFamily="2" charset="-79"/>
              </a:rPr>
            </a:br>
            <a:r>
              <a:rPr lang="da-DK" sz="4800" b="1">
                <a:latin typeface="Amatic SC" panose="00000500000000000000" pitchFamily="2" charset="-79"/>
                <a:cs typeface="Amatic SC" panose="00000500000000000000" pitchFamily="2" charset="-79"/>
              </a:rPr>
              <a:t>på jeres skole</a:t>
            </a:r>
            <a:endParaRPr lang="da-DK" sz="8000">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18702734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0</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4"/>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Elevcitater</a:t>
            </a:r>
            <a:endParaRPr lang="da-DK" sz="3600" b="1">
              <a:solidFill>
                <a:schemeClr val="bg1"/>
              </a:solidFill>
              <a:latin typeface="Amatic SC"/>
              <a:ea typeface="Amatic SC"/>
              <a:cs typeface="Amatic SC"/>
              <a:sym typeface="Amatic SC"/>
            </a:endParaRPr>
          </a:p>
        </p:txBody>
      </p:sp>
      <p:sp>
        <p:nvSpPr>
          <p:cNvPr id="6" name="Google Shape;847;p29">
            <a:extLst>
              <a:ext uri="{FF2B5EF4-FFF2-40B4-BE49-F238E27FC236}">
                <a16:creationId xmlns:a16="http://schemas.microsoft.com/office/drawing/2014/main" id="{2AB896AF-D93D-00CE-FBF5-6F0E097DBC2D}"/>
              </a:ext>
            </a:extLst>
          </p:cNvPr>
          <p:cNvSpPr txBox="1"/>
          <p:nvPr/>
        </p:nvSpPr>
        <p:spPr>
          <a:xfrm>
            <a:off x="901243" y="1682257"/>
            <a:ext cx="6832596" cy="4828066"/>
          </a:xfrm>
          <a:prstGeom prst="rect">
            <a:avLst/>
          </a:prstGeom>
          <a:noFill/>
          <a:ln>
            <a:noFill/>
          </a:ln>
        </p:spPr>
        <p:txBody>
          <a:bodyPr spcFirstLastPara="1" wrap="square" lIns="0" tIns="180000" rIns="0" bIns="0" anchor="t" anchorCtr="0">
            <a:noAutofit/>
          </a:bodyPr>
          <a:lstStyle/>
          <a:p>
            <a:r>
              <a:rPr lang="da-DK" sz="2200" b="1" dirty="0">
                <a:latin typeface="Amatic SC"/>
                <a:cs typeface="Amatic SC"/>
                <a:sym typeface="Quicksand"/>
              </a:rPr>
              <a:t>Forslag til proces: </a:t>
            </a:r>
          </a:p>
          <a:p>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Ledelsen præsenter elevernes perspektiver på prøvehandlingerne. </a:t>
            </a:r>
          </a:p>
          <a:p>
            <a:pPr marL="457200"/>
            <a:endParaRPr lang="da-DK" sz="1500" dirty="0">
              <a:latin typeface="Quicksand" panose="020B0604020202020204" charset="0"/>
              <a:ea typeface="Quicksand"/>
              <a:cs typeface="Quicksand" panose="020B0604020202020204" charset="0"/>
              <a:sym typeface="Quicksand"/>
            </a:endParaRPr>
          </a:p>
          <a:p>
            <a:pPr marL="457200"/>
            <a:br>
              <a:rPr lang="da-DK" sz="1500" dirty="0">
                <a:latin typeface="Quicksand" panose="020B0604020202020204" charset="0"/>
                <a:ea typeface="Quicksand"/>
                <a:cs typeface="Quicksand" panose="020B0604020202020204" charset="0"/>
                <a:sym typeface="Quicksand"/>
              </a:rPr>
            </a:br>
            <a:r>
              <a:rPr lang="da-DK" sz="1500" dirty="0">
                <a:latin typeface="Quicksand" panose="020B0604020202020204" charset="0"/>
                <a:ea typeface="Quicksand"/>
                <a:cs typeface="Quicksand" panose="020B0604020202020204" charset="0"/>
                <a:sym typeface="Quicksand"/>
              </a:rPr>
              <a:t>Efter præsentationen går hvert team på opdagelse i elevcitaterne og skolerapporten og drøfter:</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ad bliver I særligt nysgerrige på?</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Er der noget, der særligt overrasker jer?</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ad stemmer overens med/udfordrer jeres forståelse?</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ordan kan I som team arbejde med at bringe jeres elevers perspektiver frem?</a:t>
            </a:r>
          </a:p>
          <a:p>
            <a:pPr marL="628650" lvl="1"/>
            <a:br>
              <a:rPr lang="da-DK" sz="1500" dirty="0">
                <a:latin typeface="Quicksand" panose="020B0604020202020204" charset="0"/>
                <a:ea typeface="Quicksand"/>
                <a:cs typeface="Quicksand" panose="020B0604020202020204" charset="0"/>
                <a:sym typeface="Quicksand"/>
              </a:rPr>
            </a:br>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Med afsæt i drøftelserne taler hvert team om, hvilke næste skridt drøftelserne giver anledning til i arbejdet med Den Mangfoldige Folkeskole og aftaler, hvem</a:t>
            </a:r>
          </a:p>
          <a:p>
            <a:pPr marL="457200"/>
            <a:r>
              <a:rPr lang="da-DK" sz="1500" dirty="0">
                <a:latin typeface="Quicksand" panose="020B0604020202020204" charset="0"/>
                <a:ea typeface="Quicksand"/>
                <a:cs typeface="Quicksand" panose="020B0604020202020204" charset="0"/>
                <a:sym typeface="Quicksand"/>
              </a:rPr>
              <a:t>der gør hvad. </a:t>
            </a:r>
          </a:p>
          <a:p>
            <a:pPr marL="457200" indent="-285750">
              <a:buFont typeface="Arial" panose="020B0604020202020204" pitchFamily="34" charset="0"/>
              <a:buChar char="•"/>
            </a:pPr>
            <a:endParaRPr lang="da-DK" sz="1500" dirty="0">
              <a:latin typeface="Quicksand" panose="020B0604020202020204" charset="0"/>
              <a:ea typeface="Quicksand"/>
              <a:cs typeface="Quicksand" panose="020B0604020202020204" charset="0"/>
              <a:sym typeface="Quicksand"/>
            </a:endParaRPr>
          </a:p>
          <a:p>
            <a:pPr marL="457200"/>
            <a:endParaRPr lang="da-DK" sz="1500" dirty="0">
              <a:latin typeface="Quicksand" panose="020B0604020202020204" charset="0"/>
              <a:ea typeface="Quicksand"/>
              <a:cs typeface="Quicksand" panose="020B0604020202020204" charset="0"/>
              <a:sym typeface="Quicksand"/>
            </a:endParaRPr>
          </a:p>
        </p:txBody>
      </p:sp>
      <p:pic>
        <p:nvPicPr>
          <p:cNvPr id="2" name="Graphic 1" descr="Child with balloon with solid fill">
            <a:extLst>
              <a:ext uri="{FF2B5EF4-FFF2-40B4-BE49-F238E27FC236}">
                <a16:creationId xmlns:a16="http://schemas.microsoft.com/office/drawing/2014/main" id="{D6EBEAE4-AA6C-DFB4-8D70-E6FE4E36F4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97187" y="381785"/>
            <a:ext cx="749050" cy="749050"/>
          </a:xfrm>
          <a:prstGeom prst="rect">
            <a:avLst/>
          </a:prstGeom>
        </p:spPr>
      </p:pic>
      <p:sp>
        <p:nvSpPr>
          <p:cNvPr id="3" name="Oval 2">
            <a:extLst>
              <a:ext uri="{FF2B5EF4-FFF2-40B4-BE49-F238E27FC236}">
                <a16:creationId xmlns:a16="http://schemas.microsoft.com/office/drawing/2014/main" id="{465FC60F-2D91-298A-3D27-3233C8A8196C}"/>
              </a:ext>
            </a:extLst>
          </p:cNvPr>
          <p:cNvSpPr/>
          <p:nvPr/>
        </p:nvSpPr>
        <p:spPr>
          <a:xfrm>
            <a:off x="901241" y="2380911"/>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1</a:t>
            </a:r>
            <a:endParaRPr lang="da-DK" sz="2000" noProof="0" dirty="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EC31981D-3901-CFBA-7D00-80437B19F3F2}"/>
              </a:ext>
            </a:extLst>
          </p:cNvPr>
          <p:cNvSpPr/>
          <p:nvPr/>
        </p:nvSpPr>
        <p:spPr>
          <a:xfrm>
            <a:off x="901241" y="3084596"/>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dirty="0">
                <a:latin typeface="Quicksand" panose="020B0604020202020204" charset="0"/>
                <a:cs typeface="Quicksand" panose="020B0604020202020204" charset="0"/>
              </a:rPr>
              <a:t>2</a:t>
            </a:r>
            <a:endParaRPr lang="da-DK" sz="2000" noProof="0" dirty="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41E187D1-A8CB-D241-B1C0-A45935666F79}"/>
              </a:ext>
            </a:extLst>
          </p:cNvPr>
          <p:cNvSpPr/>
          <p:nvPr/>
        </p:nvSpPr>
        <p:spPr>
          <a:xfrm>
            <a:off x="901241" y="4897678"/>
            <a:ext cx="345600" cy="34544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dirty="0">
                <a:latin typeface="Quicksand" panose="020B0604020202020204" charset="0"/>
                <a:cs typeface="Quicksand" panose="020B0604020202020204" charset="0"/>
              </a:rPr>
              <a:t>3</a:t>
            </a:r>
            <a:endParaRPr lang="da-DK" sz="2000" noProof="0" dirty="0">
              <a:latin typeface="Quicksand" panose="020B0604020202020204" charset="0"/>
              <a:cs typeface="Quicksand" panose="020B0604020202020204" charset="0"/>
            </a:endParaRPr>
          </a:p>
        </p:txBody>
      </p:sp>
      <p:pic>
        <p:nvPicPr>
          <p:cNvPr id="13" name="Graphic 12">
            <a:extLst>
              <a:ext uri="{FF2B5EF4-FFF2-40B4-BE49-F238E27FC236}">
                <a16:creationId xmlns:a16="http://schemas.microsoft.com/office/drawing/2014/main" id="{3BA0848F-0E4B-E641-1E40-66CB2E9AF1F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40824" y="1770370"/>
            <a:ext cx="3698360" cy="2607229"/>
          </a:xfrm>
          <a:prstGeom prst="rect">
            <a:avLst/>
          </a:prstGeom>
        </p:spPr>
      </p:pic>
      <p:sp>
        <p:nvSpPr>
          <p:cNvPr id="14" name="Rectangle 13">
            <a:extLst>
              <a:ext uri="{FF2B5EF4-FFF2-40B4-BE49-F238E27FC236}">
                <a16:creationId xmlns:a16="http://schemas.microsoft.com/office/drawing/2014/main" id="{33310D55-2B7C-E022-3947-AC4122B01429}"/>
              </a:ext>
            </a:extLst>
          </p:cNvPr>
          <p:cNvSpPr/>
          <p:nvPr/>
        </p:nvSpPr>
        <p:spPr>
          <a:xfrm>
            <a:off x="8609883" y="2712996"/>
            <a:ext cx="2650313" cy="1134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dirty="0">
                <a:solidFill>
                  <a:schemeClr val="bg1"/>
                </a:solidFill>
                <a:latin typeface="Quicksand" panose="020B0604020202020204"/>
              </a:rPr>
              <a:t>Tip:</a:t>
            </a:r>
            <a:br>
              <a:rPr lang="da-DK" sz="1200" b="1" dirty="0">
                <a:solidFill>
                  <a:schemeClr val="bg1"/>
                </a:solidFill>
                <a:latin typeface="Quicksand" panose="020B0604020202020204"/>
              </a:rPr>
            </a:br>
            <a:r>
              <a:rPr lang="da-DK" sz="1200" dirty="0">
                <a:solidFill>
                  <a:schemeClr val="bg1"/>
                </a:solidFill>
                <a:latin typeface="Quicksand" panose="020B0604020202020204"/>
              </a:rPr>
              <a:t>I arbejdet med elevcitater kan I med fordel inddrage jeres lokale skolerapport. </a:t>
            </a:r>
            <a:r>
              <a:rPr lang="da-DK" sz="1200" dirty="0">
                <a:solidFill>
                  <a:schemeClr val="bg1"/>
                </a:solidFill>
                <a:latin typeface="Quicksand" panose="020B0604020202020204" charset="0"/>
                <a:ea typeface="Quicksand"/>
                <a:cs typeface="Quicksand" panose="020B0604020202020204" charset="0"/>
                <a:sym typeface="Quicksand"/>
              </a:rPr>
              <a:t>Hvordan relaterer skolens egne resultater under temaet ‘</a:t>
            </a:r>
            <a:r>
              <a:rPr lang="da-DK" sz="1200" dirty="0" err="1">
                <a:solidFill>
                  <a:schemeClr val="bg1"/>
                </a:solidFill>
                <a:latin typeface="Quicksand" panose="020B0604020202020204" charset="0"/>
                <a:ea typeface="Quicksand"/>
                <a:cs typeface="Quicksand" panose="020B0604020202020204" charset="0"/>
                <a:sym typeface="Quicksand"/>
              </a:rPr>
              <a:t>nddragelse</a:t>
            </a:r>
            <a:r>
              <a:rPr lang="da-DK" sz="1200" dirty="0">
                <a:solidFill>
                  <a:schemeClr val="bg1"/>
                </a:solidFill>
                <a:latin typeface="Quicksand" panose="020B0604020202020204" charset="0"/>
                <a:ea typeface="Quicksand"/>
                <a:cs typeface="Quicksand" panose="020B0604020202020204" charset="0"/>
                <a:sym typeface="Quicksand"/>
              </a:rPr>
              <a:t> af elevernes perspektiver’ sig til elevcitaterne?</a:t>
            </a:r>
          </a:p>
        </p:txBody>
      </p:sp>
      <p:sp>
        <p:nvSpPr>
          <p:cNvPr id="15" name="Google Shape;1251;p48">
            <a:extLst>
              <a:ext uri="{FF2B5EF4-FFF2-40B4-BE49-F238E27FC236}">
                <a16:creationId xmlns:a16="http://schemas.microsoft.com/office/drawing/2014/main" id="{7C06A0A9-85C8-4FAC-EED4-4CFE7C0991AB}"/>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118414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1</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3"/>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prøvehandlinger</a:t>
            </a:r>
            <a:endParaRPr lang="da-DK" sz="2800" b="1">
              <a:solidFill>
                <a:schemeClr val="bg1"/>
              </a:solidFill>
              <a:latin typeface="Amatic SC"/>
              <a:ea typeface="Amatic SC"/>
              <a:cs typeface="Amatic SC"/>
              <a:sym typeface="Amatic SC"/>
            </a:endParaRPr>
          </a:p>
        </p:txBody>
      </p:sp>
      <p:sp>
        <p:nvSpPr>
          <p:cNvPr id="2" name="Google Shape;847;p29">
            <a:extLst>
              <a:ext uri="{FF2B5EF4-FFF2-40B4-BE49-F238E27FC236}">
                <a16:creationId xmlns:a16="http://schemas.microsoft.com/office/drawing/2014/main" id="{33A948B7-3432-5D65-F956-347F28D9D6F0}"/>
              </a:ext>
            </a:extLst>
          </p:cNvPr>
          <p:cNvSpPr txBox="1"/>
          <p:nvPr/>
        </p:nvSpPr>
        <p:spPr>
          <a:xfrm>
            <a:off x="901244" y="1682257"/>
            <a:ext cx="9430810" cy="4828066"/>
          </a:xfrm>
          <a:prstGeom prst="rect">
            <a:avLst/>
          </a:prstGeom>
          <a:noFill/>
          <a:ln>
            <a:noFill/>
          </a:ln>
        </p:spPr>
        <p:txBody>
          <a:bodyPr spcFirstLastPara="1" wrap="square" lIns="0" tIns="180000" rIns="0" bIns="0" anchor="t" anchorCtr="0">
            <a:noAutofit/>
          </a:bodyPr>
          <a:lstStyle/>
          <a:p>
            <a:r>
              <a:rPr lang="da-DK" sz="2200" b="1" dirty="0">
                <a:latin typeface="Amatic SC"/>
                <a:cs typeface="Amatic SC"/>
                <a:sym typeface="Quicksand"/>
              </a:rPr>
              <a:t>Forslag til proces: </a:t>
            </a:r>
          </a:p>
          <a:p>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hlinkClick r:id="" action="ppaction://noaction">
                  <a:extLst>
                    <a:ext uri="{A12FA001-AC4F-418D-AE19-62706E023703}">
                      <ahyp:hlinkClr xmlns:ahyp="http://schemas.microsoft.com/office/drawing/2018/hyperlinkcolor" val="tx"/>
                    </a:ext>
                  </a:extLst>
                </a:hlinkClick>
              </a:rPr>
              <a:t>Eksempler på prøvehandlinger fra praksis</a:t>
            </a:r>
            <a:r>
              <a:rPr lang="da-DK" sz="1500" dirty="0">
                <a:latin typeface="Quicksand" panose="020B0604020202020204" charset="0"/>
                <a:ea typeface="Quicksand"/>
                <a:cs typeface="Quicksand" panose="020B0604020202020204" charset="0"/>
                <a:sym typeface="Quicksand"/>
              </a:rPr>
              <a:t> (se kommende slides) er udprintet og ligger på bordet.</a:t>
            </a:r>
          </a:p>
          <a:p>
            <a:pPr marL="45720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Teamet bruger eksemplerne på prøvehandlinger til selv at beskrive egne prøvehandlinger og virkningerne af dem (brug den tomme skabelon på kommende slide).</a:t>
            </a:r>
          </a:p>
          <a:p>
            <a:pPr marL="45720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Dernæst præsenterer teamene hver især deres prøvehandlinger og beskriver:</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ad gjorde vi konkret? </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orfor er denne prøvehandling særligt god? </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ilken forandring har vi oplevet blandt eleverne? </a:t>
            </a:r>
          </a:p>
          <a:p>
            <a:pPr marL="576000" lvl="1" indent="-144000">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ilke særlige opmærksomhedspunkter knytter sig til prøvehandlingen?</a:t>
            </a:r>
          </a:p>
          <a:p>
            <a:pPr marL="576000" lvl="1" indent="-144000">
              <a:buFont typeface="Arial" panose="020B0604020202020204" pitchFamily="34" charset="0"/>
              <a:buChar char="•"/>
            </a:pPr>
            <a:endParaRPr lang="da-DK" sz="1500" dirty="0">
              <a:latin typeface="Quicksand" panose="020B0604020202020204"/>
              <a:ea typeface="Quicksand" panose="020B0604020202020204"/>
              <a:cs typeface="Quicksand" panose="020B0604020202020204" charset="0"/>
              <a:sym typeface="Quicksand"/>
            </a:endParaRPr>
          </a:p>
          <a:p>
            <a:pPr lvl="1"/>
            <a:r>
              <a:rPr lang="da-DK" sz="1500" dirty="0">
                <a:latin typeface="Quicksand" panose="020B0604020202020204"/>
                <a:ea typeface="Quicksand" panose="020B0604020202020204"/>
                <a:cs typeface="Quicksand" panose="020B0604020202020204" charset="0"/>
                <a:sym typeface="Quicksand"/>
              </a:rPr>
              <a:t>Send gerne den udfyldte skabelon af prøvehandlingen til </a:t>
            </a:r>
            <a:r>
              <a:rPr lang="da-DK" sz="1500" b="1" dirty="0">
                <a:latin typeface="Quicksand" panose="020B0604020202020204"/>
                <a:ea typeface="Quicksand" panose="020B0604020202020204"/>
                <a:cs typeface="Quicksand" panose="020B0604020202020204" charset="0"/>
                <a:sym typeface="Quicksand"/>
              </a:rPr>
              <a:t>Mette van Dalm </a:t>
            </a:r>
            <a:r>
              <a:rPr lang="da-DK" sz="1500" dirty="0">
                <a:latin typeface="Quicksand" panose="020B0604020202020204"/>
                <a:ea typeface="Quicksand" panose="020B0604020202020204"/>
                <a:cs typeface="Quicksand" panose="020B0604020202020204" charset="0"/>
                <a:sym typeface="Quicksand"/>
              </a:rPr>
              <a:t>(tværkommunal projektleder på Den Mangfoldige Folkeskole i Nordjylland): </a:t>
            </a:r>
            <a:r>
              <a:rPr lang="da-DK" sz="1600" b="1" dirty="0">
                <a:latin typeface="Quicksand" panose="020B0604020202020204"/>
                <a:cs typeface="Amatic SC" panose="00000500000000000000" pitchFamily="2" charset="-79"/>
                <a:hlinkClick r:id="rId6"/>
              </a:rPr>
              <a:t>mvd-skole@aalborg.dk</a:t>
            </a:r>
            <a:r>
              <a:rPr lang="da-DK" sz="1600" dirty="0">
                <a:latin typeface="Quicksand" panose="020B0604020202020204"/>
                <a:cs typeface="Amatic SC" panose="00000500000000000000" pitchFamily="2" charset="-79"/>
              </a:rPr>
              <a:t>, så andre skoler kan blive inspireret. </a:t>
            </a:r>
            <a:endParaRPr lang="da-DK" sz="1600" b="1" dirty="0">
              <a:latin typeface="Quicksand" panose="020B0604020202020204"/>
              <a:cs typeface="Amatic SC" panose="00000500000000000000" pitchFamily="2" charset="-79"/>
            </a:endParaRPr>
          </a:p>
        </p:txBody>
      </p:sp>
      <p:pic>
        <p:nvPicPr>
          <p:cNvPr id="3" name="Graphic 2" descr="Group brainstorm with solid fill">
            <a:extLst>
              <a:ext uri="{FF2B5EF4-FFF2-40B4-BE49-F238E27FC236}">
                <a16:creationId xmlns:a16="http://schemas.microsoft.com/office/drawing/2014/main" id="{B3DEEB3A-9639-1B91-9819-C4052F33CB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018378" y="381785"/>
            <a:ext cx="780305" cy="780305"/>
          </a:xfrm>
          <a:prstGeom prst="rect">
            <a:avLst/>
          </a:prstGeom>
        </p:spPr>
      </p:pic>
      <p:sp>
        <p:nvSpPr>
          <p:cNvPr id="6" name="Oval 5">
            <a:extLst>
              <a:ext uri="{FF2B5EF4-FFF2-40B4-BE49-F238E27FC236}">
                <a16:creationId xmlns:a16="http://schemas.microsoft.com/office/drawing/2014/main" id="{B85D8481-3EF1-21B0-0229-5F0026B12BE2}"/>
              </a:ext>
            </a:extLst>
          </p:cNvPr>
          <p:cNvSpPr/>
          <p:nvPr/>
        </p:nvSpPr>
        <p:spPr>
          <a:xfrm>
            <a:off x="901241" y="2385535"/>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05D7796D-EC6B-7E2E-0F18-5376EEE18240}"/>
              </a:ext>
            </a:extLst>
          </p:cNvPr>
          <p:cNvSpPr/>
          <p:nvPr/>
        </p:nvSpPr>
        <p:spPr>
          <a:xfrm>
            <a:off x="901241" y="2835647"/>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8" name="Oval 7">
            <a:extLst>
              <a:ext uri="{FF2B5EF4-FFF2-40B4-BE49-F238E27FC236}">
                <a16:creationId xmlns:a16="http://schemas.microsoft.com/office/drawing/2014/main" id="{A8D45A94-71F2-9B81-D70C-2620F6BDCBC2}"/>
              </a:ext>
            </a:extLst>
          </p:cNvPr>
          <p:cNvSpPr/>
          <p:nvPr/>
        </p:nvSpPr>
        <p:spPr>
          <a:xfrm>
            <a:off x="901241" y="3536520"/>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9" name="Oval 8">
            <a:extLst>
              <a:ext uri="{FF2B5EF4-FFF2-40B4-BE49-F238E27FC236}">
                <a16:creationId xmlns:a16="http://schemas.microsoft.com/office/drawing/2014/main" id="{72CD4961-2A9C-F9FF-D0EB-7C74F9FE6B7A}"/>
              </a:ext>
            </a:extLst>
          </p:cNvPr>
          <p:cNvSpPr/>
          <p:nvPr/>
        </p:nvSpPr>
        <p:spPr>
          <a:xfrm>
            <a:off x="901241" y="4866691"/>
            <a:ext cx="345600" cy="34544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dirty="0">
                <a:latin typeface="Quicksand" panose="020B0604020202020204" charset="0"/>
                <a:cs typeface="Quicksand" panose="020B0604020202020204" charset="0"/>
              </a:rPr>
              <a:t>4</a:t>
            </a:r>
            <a:endParaRPr lang="da-DK" sz="2000" noProof="0" dirty="0">
              <a:latin typeface="Quicksand" panose="020B0604020202020204" charset="0"/>
              <a:cs typeface="Quicksand" panose="020B0604020202020204" charset="0"/>
            </a:endParaRPr>
          </a:p>
        </p:txBody>
      </p:sp>
    </p:spTree>
    <p:extLst>
      <p:ext uri="{BB962C8B-B14F-4D97-AF65-F5344CB8AC3E}">
        <p14:creationId xmlns:p14="http://schemas.microsoft.com/office/powerpoint/2010/main" val="31451515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867592" y="2068734"/>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7592" y="2523737"/>
            <a:ext cx="2360024" cy="2679740"/>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33350" indent="-13335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eleverne </a:t>
            </a:r>
            <a:r>
              <a:rPr lang="da-DK" sz="1400" b="1" dirty="0">
                <a:solidFill>
                  <a:schemeClr val="tx1"/>
                </a:solidFill>
                <a:latin typeface="Quicksand "/>
                <a:cs typeface="Amatic SC" panose="00000500000000000000" pitchFamily="2" charset="-79"/>
              </a:rPr>
              <a:t>motiveres via medbestemmelse</a:t>
            </a:r>
            <a:r>
              <a:rPr lang="da-DK" sz="1400" dirty="0">
                <a:solidFill>
                  <a:schemeClr val="tx1"/>
                </a:solidFill>
                <a:latin typeface="Quicksand "/>
                <a:cs typeface="Amatic SC" panose="00000500000000000000" pitchFamily="2" charset="-79"/>
              </a:rPr>
              <a:t> og oplever, at de selv kan påvirke undervisningens indhold. </a:t>
            </a:r>
          </a:p>
          <a:p>
            <a:pPr marL="133350" indent="-13335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eleverne </a:t>
            </a:r>
            <a:r>
              <a:rPr lang="da-DK" sz="1400" b="1" dirty="0">
                <a:solidFill>
                  <a:schemeClr val="tx1"/>
                </a:solidFill>
                <a:latin typeface="Quicksand "/>
                <a:cs typeface="Amatic SC" panose="00000500000000000000" pitchFamily="2" charset="-79"/>
              </a:rPr>
              <a:t>inspireres</a:t>
            </a:r>
            <a:r>
              <a:rPr lang="da-DK" sz="1400" dirty="0">
                <a:solidFill>
                  <a:schemeClr val="tx1"/>
                </a:solidFill>
                <a:latin typeface="Quicksand "/>
                <a:cs typeface="Amatic SC" panose="00000500000000000000" pitchFamily="2" charset="-79"/>
              </a:rPr>
              <a:t> til at forholde sig mere kreativt til </a:t>
            </a:r>
            <a:r>
              <a:rPr lang="da-DK" sz="1400" dirty="0" err="1">
                <a:solidFill>
                  <a:schemeClr val="tx1"/>
                </a:solidFill>
                <a:latin typeface="Quicksand "/>
                <a:cs typeface="Amatic SC" panose="00000500000000000000" pitchFamily="2" charset="-79"/>
              </a:rPr>
              <a:t>opgave-løsningen</a:t>
            </a:r>
            <a:r>
              <a:rPr lang="da-DK" sz="1400" dirty="0">
                <a:solidFill>
                  <a:schemeClr val="tx1"/>
                </a:solidFill>
                <a:latin typeface="Quicksand "/>
                <a:cs typeface="Amatic SC" panose="00000500000000000000" pitchFamily="2" charset="-79"/>
              </a:rPr>
              <a:t> og blive opmærksomme på, at der ikke kun er en rigtig måde at løse opgaver på. </a:t>
            </a:r>
          </a:p>
          <a:p>
            <a:pPr marL="133350" indent="-133350">
              <a:spcAft>
                <a:spcPts val="600"/>
              </a:spcAft>
            </a:pPr>
            <a:endParaRPr lang="da-DK" sz="1400" dirty="0">
              <a:solidFill>
                <a:schemeClr val="tx1"/>
              </a:solidFill>
              <a:latin typeface="Quicksand "/>
              <a:cs typeface="Amatic SC" panose="00000500000000000000" pitchFamily="2" charset="-79"/>
            </a:endParaRPr>
          </a:p>
        </p:txBody>
      </p:sp>
      <p:grpSp>
        <p:nvGrpSpPr>
          <p:cNvPr id="25" name="Group 24">
            <a:extLst>
              <a:ext uri="{FF2B5EF4-FFF2-40B4-BE49-F238E27FC236}">
                <a16:creationId xmlns:a16="http://schemas.microsoft.com/office/drawing/2014/main" id="{1FBBA95F-49CE-19CC-EBBD-4F2EE4AF5CBA}"/>
              </a:ext>
            </a:extLst>
          </p:cNvPr>
          <p:cNvGrpSpPr/>
          <p:nvPr/>
        </p:nvGrpSpPr>
        <p:grpSpPr>
          <a:xfrm>
            <a:off x="4915988" y="2086456"/>
            <a:ext cx="2360024" cy="4069623"/>
            <a:chOff x="4908103" y="2068734"/>
            <a:chExt cx="2360024" cy="3990721"/>
          </a:xfrm>
        </p:grpSpPr>
        <p:sp>
          <p:nvSpPr>
            <p:cNvPr id="36" name="Rectangle 35">
              <a:extLst>
                <a:ext uri="{FF2B5EF4-FFF2-40B4-BE49-F238E27FC236}">
                  <a16:creationId xmlns:a16="http://schemas.microsoft.com/office/drawing/2014/main" id="{FDF73E5C-B667-FE57-4C8F-7E2033D688CB}"/>
                </a:ext>
              </a:extLst>
            </p:cNvPr>
            <p:cNvSpPr/>
            <p:nvPr/>
          </p:nvSpPr>
          <p:spPr>
            <a:xfrm>
              <a:off x="4908103" y="2068734"/>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37" name="Rectangle 36">
              <a:extLst>
                <a:ext uri="{FF2B5EF4-FFF2-40B4-BE49-F238E27FC236}">
                  <a16:creationId xmlns:a16="http://schemas.microsoft.com/office/drawing/2014/main" id="{0729E69F-73C3-D2EF-DAD5-1909F3F4DD14}"/>
                </a:ext>
              </a:extLst>
            </p:cNvPr>
            <p:cNvSpPr>
              <a:spLocks/>
            </p:cNvSpPr>
            <p:nvPr/>
          </p:nvSpPr>
          <p:spPr>
            <a:xfrm>
              <a:off x="4908103" y="2485153"/>
              <a:ext cx="2360024" cy="357430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Læreren medtager forskellige måder, eleverne kan løse en opgave på. Eleverne </a:t>
              </a:r>
              <a:r>
                <a:rPr lang="da-DK" sz="1400" b="1" dirty="0">
                  <a:solidFill>
                    <a:schemeClr val="tx1"/>
                  </a:solidFill>
                  <a:latin typeface="Quicksand "/>
                  <a:cs typeface="Amatic SC" panose="00000500000000000000" pitchFamily="2" charset="-79"/>
                </a:rPr>
                <a:t>kan fx vælge mellem, om de </a:t>
              </a:r>
              <a:r>
                <a:rPr lang="da-DK" sz="1400" dirty="0">
                  <a:solidFill>
                    <a:schemeClr val="tx1"/>
                  </a:solidFill>
                  <a:latin typeface="Quicksand "/>
                  <a:cs typeface="Amatic SC" panose="00000500000000000000" pitchFamily="2" charset="-79"/>
                </a:rPr>
                <a:t>vil bygge deres svar på opgaven i papmache, lave en video eller tegne en model.</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Når eleverne er færdige med opgaven, </a:t>
              </a:r>
              <a:r>
                <a:rPr lang="da-DK" sz="1400" b="1" dirty="0">
                  <a:solidFill>
                    <a:schemeClr val="tx1"/>
                  </a:solidFill>
                  <a:latin typeface="Quicksand "/>
                  <a:cs typeface="Amatic SC" panose="00000500000000000000" pitchFamily="2" charset="-79"/>
                </a:rPr>
                <a:t>fremlægger de for en anden gruppe,</a:t>
              </a:r>
              <a:r>
                <a:rPr lang="da-DK" sz="1400" dirty="0">
                  <a:solidFill>
                    <a:schemeClr val="tx1"/>
                  </a:solidFill>
                  <a:latin typeface="Quicksand "/>
                  <a:cs typeface="Amatic SC" panose="00000500000000000000" pitchFamily="2" charset="-79"/>
                </a:rPr>
                <a:t> som har løst opgaven anderledes, så de på den måde inspireres til at forstå et fagligt emne på flere forskellige måder. </a:t>
              </a:r>
            </a:p>
          </p:txBody>
        </p:sp>
      </p:grpSp>
      <p:sp>
        <p:nvSpPr>
          <p:cNvPr id="40" name="Rectangle 39">
            <a:extLst>
              <a:ext uri="{FF2B5EF4-FFF2-40B4-BE49-F238E27FC236}">
                <a16:creationId xmlns:a16="http://schemas.microsoft.com/office/drawing/2014/main" id="{6EAAA55B-D22A-9480-1DAE-40342510547C}"/>
              </a:ext>
            </a:extLst>
          </p:cNvPr>
          <p:cNvSpPr/>
          <p:nvPr/>
        </p:nvSpPr>
        <p:spPr>
          <a:xfrm>
            <a:off x="7969667" y="2068734"/>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41" name="Rectangle 40">
            <a:extLst>
              <a:ext uri="{FF2B5EF4-FFF2-40B4-BE49-F238E27FC236}">
                <a16:creationId xmlns:a16="http://schemas.microsoft.com/office/drawing/2014/main" id="{8F03E3B9-ECC6-3071-3B43-4551019D1EEF}"/>
              </a:ext>
            </a:extLst>
          </p:cNvPr>
          <p:cNvSpPr/>
          <p:nvPr/>
        </p:nvSpPr>
        <p:spPr>
          <a:xfrm>
            <a:off x="7964384" y="2535658"/>
            <a:ext cx="2360024" cy="2848115"/>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Eleverne kan i højere grad </a:t>
            </a:r>
            <a:r>
              <a:rPr lang="da-DK" sz="1400" b="1" dirty="0">
                <a:solidFill>
                  <a:schemeClr val="tx1"/>
                </a:solidFill>
                <a:latin typeface="Quicksand "/>
                <a:cs typeface="Amatic SC"/>
              </a:rPr>
              <a:t>bringe deres specifikke evner i spil </a:t>
            </a:r>
            <a:r>
              <a:rPr lang="da-DK" sz="1400" dirty="0">
                <a:solidFill>
                  <a:schemeClr val="tx1"/>
                </a:solidFill>
                <a:latin typeface="Quicksand "/>
                <a:cs typeface="Amatic SC"/>
              </a:rPr>
              <a:t>i </a:t>
            </a:r>
            <a:r>
              <a:rPr lang="da-DK" sz="1400" dirty="0" err="1">
                <a:solidFill>
                  <a:schemeClr val="tx1"/>
                </a:solidFill>
                <a:latin typeface="Quicksand "/>
                <a:cs typeface="Amatic SC"/>
              </a:rPr>
              <a:t>under-visningen</a:t>
            </a:r>
            <a:r>
              <a:rPr lang="da-DK" sz="1400" dirty="0">
                <a:solidFill>
                  <a:schemeClr val="tx1"/>
                </a:solidFill>
                <a:latin typeface="Quicksand "/>
                <a:cs typeface="Amatic SC"/>
              </a:rPr>
              <a:t> og oplever øget motivation, fordi de kan løse opgaven på præcis den måde, de selv har lyst til. </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Eleverne oplever mere </a:t>
            </a:r>
            <a:r>
              <a:rPr lang="da-DK" sz="1400" b="1" dirty="0">
                <a:solidFill>
                  <a:schemeClr val="tx1"/>
                </a:solidFill>
                <a:latin typeface="Quicksand "/>
                <a:cs typeface="Amatic SC"/>
              </a:rPr>
              <a:t>variation i </a:t>
            </a:r>
            <a:r>
              <a:rPr lang="da-DK" sz="1400" b="1" dirty="0" err="1">
                <a:solidFill>
                  <a:schemeClr val="tx1"/>
                </a:solidFill>
                <a:latin typeface="Quicksand "/>
                <a:cs typeface="Amatic SC"/>
              </a:rPr>
              <a:t>under-visningen</a:t>
            </a:r>
            <a:r>
              <a:rPr lang="da-DK" sz="1400" dirty="0">
                <a:solidFill>
                  <a:schemeClr val="tx1"/>
                </a:solidFill>
                <a:latin typeface="Quicksand "/>
                <a:cs typeface="Amatic SC"/>
              </a:rPr>
              <a:t>, fordi de får mulighed for at udtrykke sig på mange forskellige måder.</a:t>
            </a:r>
          </a:p>
        </p:txBody>
      </p:sp>
      <p:sp>
        <p:nvSpPr>
          <p:cNvPr id="3" name="TextBox 2">
            <a:extLst>
              <a:ext uri="{FF2B5EF4-FFF2-40B4-BE49-F238E27FC236}">
                <a16:creationId xmlns:a16="http://schemas.microsoft.com/office/drawing/2014/main" id="{DC4DEC21-DCC0-2A12-8EF8-B5639B6D117A}"/>
              </a:ext>
            </a:extLst>
          </p:cNvPr>
          <p:cNvSpPr txBox="1"/>
          <p:nvPr/>
        </p:nvSpPr>
        <p:spPr>
          <a:xfrm>
            <a:off x="0" y="440201"/>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chor="t">
            <a:spAutoFit/>
          </a:bodyPr>
          <a:lstStyle/>
          <a:p>
            <a:pPr algn="ctr"/>
            <a:r>
              <a:rPr lang="da-DK" sz="4000" b="1">
                <a:latin typeface="Amatic SC"/>
                <a:cs typeface="Amatic SC"/>
              </a:rPr>
              <a:t>Prøvehandling: valgmuligheder i undervisningen</a:t>
            </a:r>
            <a:endParaRPr lang="da-DK" sz="4000" b="1">
              <a:latin typeface="Amatic SC" panose="00000500000000000000" pitchFamily="2" charset="-79"/>
              <a:cs typeface="Amatic SC" panose="00000500000000000000" pitchFamily="2" charset="-79"/>
            </a:endParaRPr>
          </a:p>
        </p:txBody>
      </p:sp>
      <p:grpSp>
        <p:nvGrpSpPr>
          <p:cNvPr id="10" name="Shape 98">
            <a:extLst>
              <a:ext uri="{FF2B5EF4-FFF2-40B4-BE49-F238E27FC236}">
                <a16:creationId xmlns:a16="http://schemas.microsoft.com/office/drawing/2014/main" id="{A3E48851-BC33-14D7-EE52-04AB1A3F2828}"/>
              </a:ext>
            </a:extLst>
          </p:cNvPr>
          <p:cNvGrpSpPr/>
          <p:nvPr/>
        </p:nvGrpSpPr>
        <p:grpSpPr>
          <a:xfrm rot="310810">
            <a:off x="4329430" y="2137895"/>
            <a:ext cx="434028" cy="386914"/>
            <a:chOff x="271125" y="812725"/>
            <a:chExt cx="766525" cy="221725"/>
          </a:xfrm>
          <a:solidFill>
            <a:srgbClr val="A3A196"/>
          </a:solidFill>
        </p:grpSpPr>
        <p:sp>
          <p:nvSpPr>
            <p:cNvPr id="11" name="Shape 99">
              <a:extLst>
                <a:ext uri="{FF2B5EF4-FFF2-40B4-BE49-F238E27FC236}">
                  <a16:creationId xmlns:a16="http://schemas.microsoft.com/office/drawing/2014/main" id="{7455ECF2-FD2A-A39D-37F9-C64F433397A9}"/>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2" name="Shape 100">
              <a:extLst>
                <a:ext uri="{FF2B5EF4-FFF2-40B4-BE49-F238E27FC236}">
                  <a16:creationId xmlns:a16="http://schemas.microsoft.com/office/drawing/2014/main" id="{D0AB5D55-7C7B-941C-A79B-1A72F80066D6}"/>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3" name="Shape 98">
            <a:extLst>
              <a:ext uri="{FF2B5EF4-FFF2-40B4-BE49-F238E27FC236}">
                <a16:creationId xmlns:a16="http://schemas.microsoft.com/office/drawing/2014/main" id="{7494248C-5D37-9574-4E0B-C1041DF8EBB7}"/>
              </a:ext>
            </a:extLst>
          </p:cNvPr>
          <p:cNvGrpSpPr/>
          <p:nvPr/>
        </p:nvGrpSpPr>
        <p:grpSpPr>
          <a:xfrm rot="310810">
            <a:off x="7387949" y="2118019"/>
            <a:ext cx="434028" cy="386914"/>
            <a:chOff x="271125" y="812725"/>
            <a:chExt cx="766525" cy="221725"/>
          </a:xfrm>
          <a:solidFill>
            <a:srgbClr val="A3A196"/>
          </a:solidFill>
        </p:grpSpPr>
        <p:sp>
          <p:nvSpPr>
            <p:cNvPr id="14" name="Shape 99">
              <a:extLst>
                <a:ext uri="{FF2B5EF4-FFF2-40B4-BE49-F238E27FC236}">
                  <a16:creationId xmlns:a16="http://schemas.microsoft.com/office/drawing/2014/main" id="{A9E3B612-ACD9-889D-54AC-0C599FC7BFD1}"/>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5" name="Shape 100">
              <a:extLst>
                <a:ext uri="{FF2B5EF4-FFF2-40B4-BE49-F238E27FC236}">
                  <a16:creationId xmlns:a16="http://schemas.microsoft.com/office/drawing/2014/main" id="{4C631583-378C-6F15-19F5-F1A17A4FC5B1}"/>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6" name="Group 15">
            <a:extLst>
              <a:ext uri="{FF2B5EF4-FFF2-40B4-BE49-F238E27FC236}">
                <a16:creationId xmlns:a16="http://schemas.microsoft.com/office/drawing/2014/main" id="{086E773C-8CE0-B5A7-8DBF-2EA56DCF7662}"/>
              </a:ext>
            </a:extLst>
          </p:cNvPr>
          <p:cNvGrpSpPr/>
          <p:nvPr/>
        </p:nvGrpSpPr>
        <p:grpSpPr>
          <a:xfrm>
            <a:off x="8841216" y="1474227"/>
            <a:ext cx="616927" cy="618408"/>
            <a:chOff x="8814517" y="1435625"/>
            <a:chExt cx="616927" cy="618408"/>
          </a:xfrm>
        </p:grpSpPr>
        <p:sp>
          <p:nvSpPr>
            <p:cNvPr id="17" name="Oval 16">
              <a:extLst>
                <a:ext uri="{FF2B5EF4-FFF2-40B4-BE49-F238E27FC236}">
                  <a16:creationId xmlns:a16="http://schemas.microsoft.com/office/drawing/2014/main" id="{07196382-B31B-7902-F5E0-B01F23F3B0AD}"/>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8" name="Graphic 17" descr="Bullseye outline">
              <a:extLst>
                <a:ext uri="{FF2B5EF4-FFF2-40B4-BE49-F238E27FC236}">
                  <a16:creationId xmlns:a16="http://schemas.microsoft.com/office/drawing/2014/main" id="{4274C11B-0B88-A426-D53B-6A5E8BDC76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19" name="Group 18">
            <a:extLst>
              <a:ext uri="{FF2B5EF4-FFF2-40B4-BE49-F238E27FC236}">
                <a16:creationId xmlns:a16="http://schemas.microsoft.com/office/drawing/2014/main" id="{160149C7-E7CA-459F-EF60-4404A17C0E4C}"/>
              </a:ext>
            </a:extLst>
          </p:cNvPr>
          <p:cNvGrpSpPr/>
          <p:nvPr/>
        </p:nvGrpSpPr>
        <p:grpSpPr>
          <a:xfrm>
            <a:off x="2743606" y="1467451"/>
            <a:ext cx="616927" cy="625184"/>
            <a:chOff x="2792332" y="1558205"/>
            <a:chExt cx="616927" cy="625184"/>
          </a:xfrm>
        </p:grpSpPr>
        <p:sp>
          <p:nvSpPr>
            <p:cNvPr id="20" name="Oval 19">
              <a:extLst>
                <a:ext uri="{FF2B5EF4-FFF2-40B4-BE49-F238E27FC236}">
                  <a16:creationId xmlns:a16="http://schemas.microsoft.com/office/drawing/2014/main" id="{98ED4977-16DD-F03B-D976-E1C1ADC8C726}"/>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1" name="Graphic 20" descr="Dim (Smaller Sun) outline">
              <a:extLst>
                <a:ext uri="{FF2B5EF4-FFF2-40B4-BE49-F238E27FC236}">
                  <a16:creationId xmlns:a16="http://schemas.microsoft.com/office/drawing/2014/main" id="{64A5201D-4F35-4F83-3113-EC960797B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grpSp>
        <p:nvGrpSpPr>
          <p:cNvPr id="22" name="Group 21">
            <a:extLst>
              <a:ext uri="{FF2B5EF4-FFF2-40B4-BE49-F238E27FC236}">
                <a16:creationId xmlns:a16="http://schemas.microsoft.com/office/drawing/2014/main" id="{144B14E3-F54F-5D3A-682F-B91D8E93817E}"/>
              </a:ext>
            </a:extLst>
          </p:cNvPr>
          <p:cNvGrpSpPr/>
          <p:nvPr/>
        </p:nvGrpSpPr>
        <p:grpSpPr>
          <a:xfrm>
            <a:off x="5787536" y="1474227"/>
            <a:ext cx="616927" cy="618408"/>
            <a:chOff x="5768721" y="1600573"/>
            <a:chExt cx="616927" cy="618408"/>
          </a:xfrm>
        </p:grpSpPr>
        <p:sp>
          <p:nvSpPr>
            <p:cNvPr id="23" name="Oval 22">
              <a:extLst>
                <a:ext uri="{FF2B5EF4-FFF2-40B4-BE49-F238E27FC236}">
                  <a16:creationId xmlns:a16="http://schemas.microsoft.com/office/drawing/2014/main" id="{A18C150C-E75C-590E-C41C-6A8A4F5B3637}"/>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4" name="Graphic 23" descr="Blueprint outline">
              <a:extLst>
                <a:ext uri="{FF2B5EF4-FFF2-40B4-BE49-F238E27FC236}">
                  <a16:creationId xmlns:a16="http://schemas.microsoft.com/office/drawing/2014/main" id="{A993F86E-D9BB-2CA8-1EED-0660026163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1605820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867592" y="2068734"/>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7592" y="2496075"/>
            <a:ext cx="2360024" cy="1787418"/>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opbygge en </a:t>
            </a:r>
            <a:r>
              <a:rPr lang="da-DK" sz="1400" b="1" dirty="0">
                <a:solidFill>
                  <a:schemeClr val="tx1"/>
                </a:solidFill>
                <a:latin typeface="Quicksand "/>
                <a:cs typeface="Amatic SC" panose="00000500000000000000" pitchFamily="2" charset="-79"/>
              </a:rPr>
              <a:t>autentisk relation </a:t>
            </a:r>
            <a:r>
              <a:rPr lang="da-DK" sz="1400" dirty="0">
                <a:solidFill>
                  <a:schemeClr val="tx1"/>
                </a:solidFill>
                <a:latin typeface="Quicksand "/>
                <a:cs typeface="Amatic SC" panose="00000500000000000000" pitchFamily="2" charset="-79"/>
              </a:rPr>
              <a:t>til eleverne ved at sætte sig selv som lærer mere i spil. </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øge elevernes tryghed og skabe et </a:t>
            </a:r>
            <a:r>
              <a:rPr lang="da-DK" sz="1400" b="1" dirty="0">
                <a:solidFill>
                  <a:schemeClr val="tx1"/>
                </a:solidFill>
                <a:latin typeface="Quicksand "/>
                <a:cs typeface="Amatic SC" panose="00000500000000000000" pitchFamily="2" charset="-79"/>
              </a:rPr>
              <a:t>styrket fagligt og socialt fællesskab i klassen. </a:t>
            </a:r>
          </a:p>
        </p:txBody>
      </p:sp>
      <p:grpSp>
        <p:nvGrpSpPr>
          <p:cNvPr id="25" name="Group 24">
            <a:extLst>
              <a:ext uri="{FF2B5EF4-FFF2-40B4-BE49-F238E27FC236}">
                <a16:creationId xmlns:a16="http://schemas.microsoft.com/office/drawing/2014/main" id="{1FBBA95F-49CE-19CC-EBBD-4F2EE4AF5CBA}"/>
              </a:ext>
            </a:extLst>
          </p:cNvPr>
          <p:cNvGrpSpPr/>
          <p:nvPr/>
        </p:nvGrpSpPr>
        <p:grpSpPr>
          <a:xfrm>
            <a:off x="4851898" y="2084378"/>
            <a:ext cx="2501256" cy="4140830"/>
            <a:chOff x="4908103" y="2068734"/>
            <a:chExt cx="2501256" cy="3110037"/>
          </a:xfrm>
        </p:grpSpPr>
        <p:sp>
          <p:nvSpPr>
            <p:cNvPr id="36" name="Rectangle 35">
              <a:extLst>
                <a:ext uri="{FF2B5EF4-FFF2-40B4-BE49-F238E27FC236}">
                  <a16:creationId xmlns:a16="http://schemas.microsoft.com/office/drawing/2014/main" id="{FDF73E5C-B667-FE57-4C8F-7E2033D688CB}"/>
                </a:ext>
              </a:extLst>
            </p:cNvPr>
            <p:cNvSpPr/>
            <p:nvPr/>
          </p:nvSpPr>
          <p:spPr>
            <a:xfrm>
              <a:off x="4908103" y="2068734"/>
              <a:ext cx="2501256" cy="320502"/>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37" name="Rectangle 36">
              <a:extLst>
                <a:ext uri="{FF2B5EF4-FFF2-40B4-BE49-F238E27FC236}">
                  <a16:creationId xmlns:a16="http://schemas.microsoft.com/office/drawing/2014/main" id="{0729E69F-73C3-D2EF-DAD5-1909F3F4DD14}"/>
                </a:ext>
              </a:extLst>
            </p:cNvPr>
            <p:cNvSpPr/>
            <p:nvPr/>
          </p:nvSpPr>
          <p:spPr>
            <a:xfrm>
              <a:off x="4908103" y="2389236"/>
              <a:ext cx="2501256" cy="2789535"/>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84150" indent="-184150">
                <a:spcAft>
                  <a:spcPts val="600"/>
                </a:spcAft>
                <a:buFont typeface="Arial" panose="020B0604020202020204" pitchFamily="34" charset="0"/>
                <a:buChar char="•"/>
              </a:pPr>
              <a:r>
                <a:rPr lang="da-DK" sz="1400" dirty="0">
                  <a:solidFill>
                    <a:schemeClr val="tx1"/>
                  </a:solidFill>
                  <a:latin typeface="Quicksand "/>
                  <a:cs typeface="Amatic SC"/>
                </a:rPr>
                <a:t>Eleverne og læreren sætter sig i en </a:t>
              </a:r>
              <a:r>
                <a:rPr lang="da-DK" sz="1400" b="1" dirty="0">
                  <a:solidFill>
                    <a:schemeClr val="tx1"/>
                  </a:solidFill>
                  <a:latin typeface="Quicksand "/>
                  <a:cs typeface="Amatic SC"/>
                </a:rPr>
                <a:t>rundkreds ved timens start.</a:t>
              </a:r>
              <a:r>
                <a:rPr lang="da-DK" sz="1400" dirty="0">
                  <a:solidFill>
                    <a:schemeClr val="tx1"/>
                  </a:solidFill>
                  <a:latin typeface="Quicksand "/>
                  <a:cs typeface="Amatic SC"/>
                </a:rPr>
                <a:t> En lærer læser først begyndelsen på en </a:t>
              </a:r>
              <a:r>
                <a:rPr lang="da-DK" sz="1400" b="1" dirty="0">
                  <a:solidFill>
                    <a:schemeClr val="tx1"/>
                  </a:solidFill>
                  <a:latin typeface="Quicksand "/>
                  <a:cs typeface="Amatic SC"/>
                </a:rPr>
                <a:t>fortælling</a:t>
              </a:r>
              <a:r>
                <a:rPr lang="da-DK" sz="1400" dirty="0">
                  <a:solidFill>
                    <a:schemeClr val="tx1"/>
                  </a:solidFill>
                  <a:latin typeface="Quicksand "/>
                  <a:cs typeface="Amatic SC"/>
                </a:rPr>
                <a:t> op om fx vedkommendes relation med eleverne. Derefter skiftes eleverne til at trække en ting op fra </a:t>
              </a:r>
              <a:r>
                <a:rPr lang="da-DK" sz="1400" b="1" dirty="0">
                  <a:solidFill>
                    <a:schemeClr val="tx1"/>
                  </a:solidFill>
                  <a:latin typeface="Quicksand "/>
                  <a:cs typeface="Amatic SC"/>
                </a:rPr>
                <a:t>inspirationskassen</a:t>
              </a:r>
              <a:r>
                <a:rPr lang="da-DK" sz="1400" dirty="0">
                  <a:solidFill>
                    <a:schemeClr val="tx1"/>
                  </a:solidFill>
                  <a:latin typeface="Quicksand "/>
                  <a:cs typeface="Amatic SC"/>
                </a:rPr>
                <a:t>, som de skal bruge til at digte videre på historien. </a:t>
              </a:r>
            </a:p>
            <a:p>
              <a:pPr marL="184150" indent="-184150">
                <a:spcAft>
                  <a:spcPts val="600"/>
                </a:spcAft>
                <a:buFont typeface="Arial" panose="020B0604020202020204" pitchFamily="34" charset="0"/>
                <a:buChar char="•"/>
              </a:pPr>
              <a:r>
                <a:rPr lang="da-DK" sz="1400" dirty="0">
                  <a:solidFill>
                    <a:schemeClr val="tx1"/>
                  </a:solidFill>
                  <a:latin typeface="Quicksand "/>
                  <a:cs typeface="Amatic SC"/>
                </a:rPr>
                <a:t>Pædagogisk personale understreger, at videre-digtninger </a:t>
              </a:r>
              <a:r>
                <a:rPr lang="da-DK" sz="1400" b="1" dirty="0">
                  <a:solidFill>
                    <a:schemeClr val="tx1"/>
                  </a:solidFill>
                  <a:latin typeface="Quicksand "/>
                  <a:cs typeface="Amatic SC"/>
                </a:rPr>
                <a:t>ikke kan være </a:t>
              </a:r>
              <a:r>
                <a:rPr lang="da-DK" sz="1400" b="1" i="1" dirty="0">
                  <a:solidFill>
                    <a:schemeClr val="tx1"/>
                  </a:solidFill>
                  <a:latin typeface="Quicksand "/>
                  <a:cs typeface="Amatic SC"/>
                </a:rPr>
                <a:t>for</a:t>
              </a:r>
              <a:r>
                <a:rPr lang="da-DK" sz="1400" b="1" dirty="0">
                  <a:solidFill>
                    <a:schemeClr val="tx1"/>
                  </a:solidFill>
                  <a:latin typeface="Quicksand "/>
                  <a:cs typeface="Amatic SC"/>
                </a:rPr>
                <a:t> fjollede</a:t>
              </a:r>
              <a:r>
                <a:rPr lang="da-DK" sz="1400" dirty="0">
                  <a:solidFill>
                    <a:schemeClr val="tx1"/>
                  </a:solidFill>
                  <a:latin typeface="Quicksand "/>
                  <a:cs typeface="Amatic SC"/>
                </a:rPr>
                <a:t>, da formålet ikke er at præstere. </a:t>
              </a:r>
            </a:p>
          </p:txBody>
        </p:sp>
      </p:grpSp>
      <p:sp>
        <p:nvSpPr>
          <p:cNvPr id="40" name="Rectangle 39">
            <a:extLst>
              <a:ext uri="{FF2B5EF4-FFF2-40B4-BE49-F238E27FC236}">
                <a16:creationId xmlns:a16="http://schemas.microsoft.com/office/drawing/2014/main" id="{6EAAA55B-D22A-9480-1DAE-40342510547C}"/>
              </a:ext>
            </a:extLst>
          </p:cNvPr>
          <p:cNvSpPr/>
          <p:nvPr/>
        </p:nvSpPr>
        <p:spPr>
          <a:xfrm>
            <a:off x="7969667" y="2068734"/>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41" name="Rectangle 40">
            <a:extLst>
              <a:ext uri="{FF2B5EF4-FFF2-40B4-BE49-F238E27FC236}">
                <a16:creationId xmlns:a16="http://schemas.microsoft.com/office/drawing/2014/main" id="{8F03E3B9-ECC6-3071-3B43-4551019D1EEF}"/>
              </a:ext>
            </a:extLst>
          </p:cNvPr>
          <p:cNvSpPr/>
          <p:nvPr/>
        </p:nvSpPr>
        <p:spPr>
          <a:xfrm>
            <a:off x="7969667" y="2523737"/>
            <a:ext cx="2360024" cy="2215000"/>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Eleverne bliver mere </a:t>
            </a:r>
            <a:r>
              <a:rPr lang="da-DK" sz="1400" b="1" dirty="0">
                <a:solidFill>
                  <a:schemeClr val="tx1"/>
                </a:solidFill>
                <a:latin typeface="Quicksand "/>
                <a:cs typeface="Amatic SC"/>
              </a:rPr>
              <a:t>trygge</a:t>
            </a:r>
            <a:r>
              <a:rPr lang="da-DK" sz="1400" dirty="0">
                <a:solidFill>
                  <a:schemeClr val="tx1"/>
                </a:solidFill>
                <a:latin typeface="Quicksand "/>
                <a:cs typeface="Amatic SC"/>
              </a:rPr>
              <a:t> </a:t>
            </a:r>
            <a:r>
              <a:rPr lang="da-DK" sz="1400" b="1" dirty="0">
                <a:solidFill>
                  <a:schemeClr val="tx1"/>
                </a:solidFill>
                <a:latin typeface="Quicksand "/>
                <a:cs typeface="Amatic SC"/>
              </a:rPr>
              <a:t>ved at snakke i plenum </a:t>
            </a:r>
            <a:r>
              <a:rPr lang="da-DK" sz="1400" dirty="0">
                <a:solidFill>
                  <a:schemeClr val="tx1"/>
                </a:solidFill>
                <a:latin typeface="Quicksand "/>
                <a:cs typeface="Amatic SC"/>
              </a:rPr>
              <a:t>foran de andre elever og med pædagogisk personale. </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Eleverne oplever at deltage i den samme aktivitet og dermed </a:t>
            </a:r>
            <a:r>
              <a:rPr lang="da-DK" sz="1400" b="1" dirty="0">
                <a:solidFill>
                  <a:schemeClr val="tx1"/>
                </a:solidFill>
                <a:latin typeface="Quicksand "/>
                <a:cs typeface="Amatic SC"/>
              </a:rPr>
              <a:t>styrkes oplevelsen af at indgå i et fællesskab </a:t>
            </a:r>
            <a:r>
              <a:rPr lang="da-DK" sz="1400" dirty="0">
                <a:solidFill>
                  <a:schemeClr val="tx1"/>
                </a:solidFill>
                <a:latin typeface="Quicksand "/>
                <a:cs typeface="Amatic SC"/>
              </a:rPr>
              <a:t>i klassen.</a:t>
            </a:r>
          </a:p>
        </p:txBody>
      </p:sp>
      <p:sp>
        <p:nvSpPr>
          <p:cNvPr id="3" name="TextBox 2">
            <a:extLst>
              <a:ext uri="{FF2B5EF4-FFF2-40B4-BE49-F238E27FC236}">
                <a16:creationId xmlns:a16="http://schemas.microsoft.com/office/drawing/2014/main" id="{DC4DEC21-DCC0-2A12-8EF8-B5639B6D117A}"/>
              </a:ext>
            </a:extLst>
          </p:cNvPr>
          <p:cNvSpPr txBox="1"/>
          <p:nvPr/>
        </p:nvSpPr>
        <p:spPr>
          <a:xfrm>
            <a:off x="0" y="440201"/>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chor="t">
            <a:spAutoFit/>
          </a:bodyPr>
          <a:lstStyle/>
          <a:p>
            <a:pPr algn="ctr"/>
            <a:r>
              <a:rPr lang="da-DK" sz="4000" b="1">
                <a:latin typeface="Amatic SC"/>
                <a:cs typeface="Amatic SC"/>
              </a:rPr>
              <a:t>Prøvehandling: Inspirationskassen</a:t>
            </a:r>
            <a:endParaRPr lang="da-DK" sz="4000" b="1">
              <a:latin typeface="Amatic SC" panose="00000500000000000000" pitchFamily="2" charset="-79"/>
              <a:cs typeface="Amatic SC" panose="00000500000000000000" pitchFamily="2" charset="-79"/>
            </a:endParaRPr>
          </a:p>
        </p:txBody>
      </p:sp>
      <p:grpSp>
        <p:nvGrpSpPr>
          <p:cNvPr id="10" name="Shape 98">
            <a:extLst>
              <a:ext uri="{FF2B5EF4-FFF2-40B4-BE49-F238E27FC236}">
                <a16:creationId xmlns:a16="http://schemas.microsoft.com/office/drawing/2014/main" id="{A3E48851-BC33-14D7-EE52-04AB1A3F2828}"/>
              </a:ext>
            </a:extLst>
          </p:cNvPr>
          <p:cNvGrpSpPr/>
          <p:nvPr/>
        </p:nvGrpSpPr>
        <p:grpSpPr>
          <a:xfrm rot="310810">
            <a:off x="4329430" y="2137895"/>
            <a:ext cx="434028" cy="386914"/>
            <a:chOff x="271125" y="812725"/>
            <a:chExt cx="766525" cy="221725"/>
          </a:xfrm>
          <a:solidFill>
            <a:srgbClr val="A3A196"/>
          </a:solidFill>
        </p:grpSpPr>
        <p:sp>
          <p:nvSpPr>
            <p:cNvPr id="11" name="Shape 99">
              <a:extLst>
                <a:ext uri="{FF2B5EF4-FFF2-40B4-BE49-F238E27FC236}">
                  <a16:creationId xmlns:a16="http://schemas.microsoft.com/office/drawing/2014/main" id="{7455ECF2-FD2A-A39D-37F9-C64F433397A9}"/>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2" name="Shape 100">
              <a:extLst>
                <a:ext uri="{FF2B5EF4-FFF2-40B4-BE49-F238E27FC236}">
                  <a16:creationId xmlns:a16="http://schemas.microsoft.com/office/drawing/2014/main" id="{D0AB5D55-7C7B-941C-A79B-1A72F80066D6}"/>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3" name="Shape 98">
            <a:extLst>
              <a:ext uri="{FF2B5EF4-FFF2-40B4-BE49-F238E27FC236}">
                <a16:creationId xmlns:a16="http://schemas.microsoft.com/office/drawing/2014/main" id="{7494248C-5D37-9574-4E0B-C1041DF8EBB7}"/>
              </a:ext>
            </a:extLst>
          </p:cNvPr>
          <p:cNvGrpSpPr/>
          <p:nvPr/>
        </p:nvGrpSpPr>
        <p:grpSpPr>
          <a:xfrm rot="310810">
            <a:off x="7433824" y="2118019"/>
            <a:ext cx="434028" cy="386914"/>
            <a:chOff x="271125" y="812725"/>
            <a:chExt cx="766525" cy="221725"/>
          </a:xfrm>
          <a:solidFill>
            <a:srgbClr val="A3A196"/>
          </a:solidFill>
        </p:grpSpPr>
        <p:sp>
          <p:nvSpPr>
            <p:cNvPr id="14" name="Shape 99">
              <a:extLst>
                <a:ext uri="{FF2B5EF4-FFF2-40B4-BE49-F238E27FC236}">
                  <a16:creationId xmlns:a16="http://schemas.microsoft.com/office/drawing/2014/main" id="{A9E3B612-ACD9-889D-54AC-0C599FC7BFD1}"/>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5" name="Shape 100">
              <a:extLst>
                <a:ext uri="{FF2B5EF4-FFF2-40B4-BE49-F238E27FC236}">
                  <a16:creationId xmlns:a16="http://schemas.microsoft.com/office/drawing/2014/main" id="{4C631583-378C-6F15-19F5-F1A17A4FC5B1}"/>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6" name="Group 15">
            <a:extLst>
              <a:ext uri="{FF2B5EF4-FFF2-40B4-BE49-F238E27FC236}">
                <a16:creationId xmlns:a16="http://schemas.microsoft.com/office/drawing/2014/main" id="{086E773C-8CE0-B5A7-8DBF-2EA56DCF7662}"/>
              </a:ext>
            </a:extLst>
          </p:cNvPr>
          <p:cNvGrpSpPr/>
          <p:nvPr/>
        </p:nvGrpSpPr>
        <p:grpSpPr>
          <a:xfrm>
            <a:off x="8841216" y="1474227"/>
            <a:ext cx="616927" cy="618408"/>
            <a:chOff x="8814517" y="1435625"/>
            <a:chExt cx="616927" cy="618408"/>
          </a:xfrm>
        </p:grpSpPr>
        <p:sp>
          <p:nvSpPr>
            <p:cNvPr id="17" name="Oval 16">
              <a:extLst>
                <a:ext uri="{FF2B5EF4-FFF2-40B4-BE49-F238E27FC236}">
                  <a16:creationId xmlns:a16="http://schemas.microsoft.com/office/drawing/2014/main" id="{07196382-B31B-7902-F5E0-B01F23F3B0AD}"/>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8" name="Graphic 17" descr="Bullseye outline">
              <a:extLst>
                <a:ext uri="{FF2B5EF4-FFF2-40B4-BE49-F238E27FC236}">
                  <a16:creationId xmlns:a16="http://schemas.microsoft.com/office/drawing/2014/main" id="{4274C11B-0B88-A426-D53B-6A5E8BDC76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19" name="Group 18">
            <a:extLst>
              <a:ext uri="{FF2B5EF4-FFF2-40B4-BE49-F238E27FC236}">
                <a16:creationId xmlns:a16="http://schemas.microsoft.com/office/drawing/2014/main" id="{160149C7-E7CA-459F-EF60-4404A17C0E4C}"/>
              </a:ext>
            </a:extLst>
          </p:cNvPr>
          <p:cNvGrpSpPr/>
          <p:nvPr/>
        </p:nvGrpSpPr>
        <p:grpSpPr>
          <a:xfrm>
            <a:off x="2743606" y="1467451"/>
            <a:ext cx="616927" cy="625184"/>
            <a:chOff x="2792332" y="1558205"/>
            <a:chExt cx="616927" cy="625184"/>
          </a:xfrm>
        </p:grpSpPr>
        <p:sp>
          <p:nvSpPr>
            <p:cNvPr id="20" name="Oval 19">
              <a:extLst>
                <a:ext uri="{FF2B5EF4-FFF2-40B4-BE49-F238E27FC236}">
                  <a16:creationId xmlns:a16="http://schemas.microsoft.com/office/drawing/2014/main" id="{98ED4977-16DD-F03B-D976-E1C1ADC8C726}"/>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1" name="Graphic 20" descr="Dim (Smaller Sun) outline">
              <a:extLst>
                <a:ext uri="{FF2B5EF4-FFF2-40B4-BE49-F238E27FC236}">
                  <a16:creationId xmlns:a16="http://schemas.microsoft.com/office/drawing/2014/main" id="{64A5201D-4F35-4F83-3113-EC960797B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grpSp>
        <p:nvGrpSpPr>
          <p:cNvPr id="22" name="Group 21">
            <a:extLst>
              <a:ext uri="{FF2B5EF4-FFF2-40B4-BE49-F238E27FC236}">
                <a16:creationId xmlns:a16="http://schemas.microsoft.com/office/drawing/2014/main" id="{144B14E3-F54F-5D3A-682F-B91D8E93817E}"/>
              </a:ext>
            </a:extLst>
          </p:cNvPr>
          <p:cNvGrpSpPr/>
          <p:nvPr/>
        </p:nvGrpSpPr>
        <p:grpSpPr>
          <a:xfrm>
            <a:off x="5794062" y="1474227"/>
            <a:ext cx="616927" cy="618408"/>
            <a:chOff x="5768721" y="1600573"/>
            <a:chExt cx="616927" cy="618408"/>
          </a:xfrm>
        </p:grpSpPr>
        <p:sp>
          <p:nvSpPr>
            <p:cNvPr id="23" name="Oval 22">
              <a:extLst>
                <a:ext uri="{FF2B5EF4-FFF2-40B4-BE49-F238E27FC236}">
                  <a16:creationId xmlns:a16="http://schemas.microsoft.com/office/drawing/2014/main" id="{A18C150C-E75C-590E-C41C-6A8A4F5B3637}"/>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4" name="Graphic 23" descr="Blueprint outline">
              <a:extLst>
                <a:ext uri="{FF2B5EF4-FFF2-40B4-BE49-F238E27FC236}">
                  <a16:creationId xmlns:a16="http://schemas.microsoft.com/office/drawing/2014/main" id="{A993F86E-D9BB-2CA8-1EED-0660026163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28175001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867592" y="2068734"/>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7592" y="2543613"/>
            <a:ext cx="2360024" cy="2625154"/>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sikre, at eleverne møder </a:t>
            </a:r>
            <a:r>
              <a:rPr lang="da-DK" sz="1400" b="1" dirty="0">
                <a:solidFill>
                  <a:schemeClr val="tx1"/>
                </a:solidFill>
                <a:latin typeface="Quicksand "/>
                <a:cs typeface="Amatic SC" panose="00000500000000000000" pitchFamily="2" charset="-79"/>
              </a:rPr>
              <a:t>ensartede krav </a:t>
            </a:r>
            <a:r>
              <a:rPr lang="da-DK" sz="1400" dirty="0">
                <a:solidFill>
                  <a:schemeClr val="tx1"/>
                </a:solidFill>
                <a:latin typeface="Quicksand "/>
                <a:cs typeface="Amatic SC" panose="00000500000000000000" pitchFamily="2" charset="-79"/>
              </a:rPr>
              <a:t>fra pædagogisk personale.</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give eleverne bedre forudsætninger for at gennemføre skoledagen ved at undgå, at de bruger </a:t>
            </a:r>
            <a:r>
              <a:rPr lang="da-DK" sz="1400" b="1" dirty="0">
                <a:solidFill>
                  <a:schemeClr val="tx1"/>
                </a:solidFill>
                <a:latin typeface="Quicksand "/>
                <a:cs typeface="Amatic SC" panose="00000500000000000000" pitchFamily="2" charset="-79"/>
              </a:rPr>
              <a:t>unødige kræfter på at tilpasse sig </a:t>
            </a:r>
            <a:r>
              <a:rPr lang="da-DK" sz="1400" dirty="0">
                <a:solidFill>
                  <a:schemeClr val="tx1"/>
                </a:solidFill>
                <a:latin typeface="Quicksand "/>
                <a:cs typeface="Amatic SC" panose="00000500000000000000" pitchFamily="2" charset="-79"/>
              </a:rPr>
              <a:t>den enkelte lærers tilgang til undervisningen. </a:t>
            </a:r>
          </a:p>
        </p:txBody>
      </p:sp>
      <p:grpSp>
        <p:nvGrpSpPr>
          <p:cNvPr id="25" name="Group 24">
            <a:extLst>
              <a:ext uri="{FF2B5EF4-FFF2-40B4-BE49-F238E27FC236}">
                <a16:creationId xmlns:a16="http://schemas.microsoft.com/office/drawing/2014/main" id="{1FBBA95F-49CE-19CC-EBBD-4F2EE4AF5CBA}"/>
              </a:ext>
            </a:extLst>
          </p:cNvPr>
          <p:cNvGrpSpPr/>
          <p:nvPr/>
        </p:nvGrpSpPr>
        <p:grpSpPr>
          <a:xfrm>
            <a:off x="4915988" y="2086456"/>
            <a:ext cx="2360024" cy="3574115"/>
            <a:chOff x="4908103" y="2068734"/>
            <a:chExt cx="2360024" cy="3300490"/>
          </a:xfrm>
        </p:grpSpPr>
        <p:sp>
          <p:nvSpPr>
            <p:cNvPr id="36" name="Rectangle 35">
              <a:extLst>
                <a:ext uri="{FF2B5EF4-FFF2-40B4-BE49-F238E27FC236}">
                  <a16:creationId xmlns:a16="http://schemas.microsoft.com/office/drawing/2014/main" id="{FDF73E5C-B667-FE57-4C8F-7E2033D688CB}"/>
                </a:ext>
              </a:extLst>
            </p:cNvPr>
            <p:cNvSpPr/>
            <p:nvPr/>
          </p:nvSpPr>
          <p:spPr>
            <a:xfrm>
              <a:off x="4908103" y="2068734"/>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de</a:t>
              </a:r>
            </a:p>
          </p:txBody>
        </p:sp>
        <p:sp>
          <p:nvSpPr>
            <p:cNvPr id="37" name="Rectangle 36">
              <a:extLst>
                <a:ext uri="{FF2B5EF4-FFF2-40B4-BE49-F238E27FC236}">
                  <a16:creationId xmlns:a16="http://schemas.microsoft.com/office/drawing/2014/main" id="{0729E69F-73C3-D2EF-DAD5-1909F3F4DD14}"/>
                </a:ext>
              </a:extLst>
            </p:cNvPr>
            <p:cNvSpPr/>
            <p:nvPr/>
          </p:nvSpPr>
          <p:spPr>
            <a:xfrm>
              <a:off x="4908103" y="2522312"/>
              <a:ext cx="2360024" cy="2846912"/>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Pædagogisk personale har </a:t>
              </a:r>
              <a:r>
                <a:rPr lang="da-DK" sz="1400" b="1" dirty="0">
                  <a:solidFill>
                    <a:schemeClr val="tx1"/>
                  </a:solidFill>
                  <a:latin typeface="Quicksand "/>
                  <a:cs typeface="Amatic SC"/>
                </a:rPr>
                <a:t>observeret hinandens undervisning </a:t>
              </a:r>
              <a:r>
                <a:rPr lang="da-DK" sz="1400" dirty="0">
                  <a:solidFill>
                    <a:schemeClr val="tx1"/>
                  </a:solidFill>
                  <a:latin typeface="Quicksand "/>
                  <a:cs typeface="Amatic SC"/>
                </a:rPr>
                <a:t>i de første 10 minutter for at identificere områder, hvor eleverne møder forskellige krav.</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De har efterfølgende fastlagt en fælles tilgang. De har fx defineret, hvad ro er, og hvordan de kan </a:t>
              </a:r>
              <a:r>
                <a:rPr lang="da-DK" sz="1400" b="1" dirty="0">
                  <a:solidFill>
                    <a:schemeClr val="tx1"/>
                  </a:solidFill>
                  <a:latin typeface="Quicksand "/>
                  <a:cs typeface="Amatic SC"/>
                </a:rPr>
                <a:t>møde eleverne med de samme krav om ro </a:t>
              </a:r>
              <a:r>
                <a:rPr lang="da-DK" sz="1400" dirty="0">
                  <a:solidFill>
                    <a:schemeClr val="tx1"/>
                  </a:solidFill>
                  <a:latin typeface="Quicksand "/>
                  <a:cs typeface="Amatic SC"/>
                </a:rPr>
                <a:t>i begyndelsen af undervisningen.</a:t>
              </a:r>
            </a:p>
          </p:txBody>
        </p:sp>
      </p:grpSp>
      <p:sp>
        <p:nvSpPr>
          <p:cNvPr id="40" name="Rectangle 39">
            <a:extLst>
              <a:ext uri="{FF2B5EF4-FFF2-40B4-BE49-F238E27FC236}">
                <a16:creationId xmlns:a16="http://schemas.microsoft.com/office/drawing/2014/main" id="{6EAAA55B-D22A-9480-1DAE-40342510547C}"/>
              </a:ext>
            </a:extLst>
          </p:cNvPr>
          <p:cNvSpPr/>
          <p:nvPr/>
        </p:nvSpPr>
        <p:spPr>
          <a:xfrm>
            <a:off x="7969667" y="2068734"/>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de</a:t>
            </a:r>
          </a:p>
        </p:txBody>
      </p:sp>
      <p:sp>
        <p:nvSpPr>
          <p:cNvPr id="41" name="Rectangle 40">
            <a:extLst>
              <a:ext uri="{FF2B5EF4-FFF2-40B4-BE49-F238E27FC236}">
                <a16:creationId xmlns:a16="http://schemas.microsoft.com/office/drawing/2014/main" id="{8F03E3B9-ECC6-3071-3B43-4551019D1EEF}"/>
              </a:ext>
            </a:extLst>
          </p:cNvPr>
          <p:cNvSpPr/>
          <p:nvPr/>
        </p:nvSpPr>
        <p:spPr>
          <a:xfrm>
            <a:off x="7969667" y="2531171"/>
            <a:ext cx="2360024" cy="2637383"/>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Pædagogisk personale har skabt en mere ensartet tilgang, som gør, at eleverne </a:t>
            </a:r>
            <a:r>
              <a:rPr lang="da-DK" sz="1400" b="1" dirty="0">
                <a:solidFill>
                  <a:schemeClr val="tx1"/>
                </a:solidFill>
                <a:latin typeface="Quicksand "/>
                <a:cs typeface="Amatic SC"/>
              </a:rPr>
              <a:t>møder de samme krav på tværs af forskellige fag og lærere</a:t>
            </a:r>
            <a:r>
              <a:rPr lang="da-DK" sz="1400" dirty="0">
                <a:solidFill>
                  <a:schemeClr val="tx1"/>
                </a:solidFill>
                <a:latin typeface="Quicksand "/>
                <a:cs typeface="Amatic SC"/>
              </a:rPr>
              <a:t>. </a:t>
            </a:r>
          </a:p>
          <a:p>
            <a:pPr marL="139700" indent="-139700">
              <a:spcAft>
                <a:spcPts val="600"/>
              </a:spcAft>
              <a:buFont typeface="Arial" panose="020B0604020202020204" pitchFamily="34" charset="0"/>
              <a:buChar char="•"/>
            </a:pPr>
            <a:r>
              <a:rPr lang="da-DK" sz="1400" dirty="0">
                <a:solidFill>
                  <a:schemeClr val="tx1"/>
                </a:solidFill>
                <a:latin typeface="Quicksand "/>
                <a:cs typeface="Amatic SC"/>
              </a:rPr>
              <a:t>Eleverne er </a:t>
            </a:r>
            <a:r>
              <a:rPr lang="da-DK" sz="1400" b="1" dirty="0">
                <a:solidFill>
                  <a:schemeClr val="tx1"/>
                </a:solidFill>
                <a:latin typeface="Quicksand "/>
                <a:cs typeface="Amatic SC"/>
              </a:rPr>
              <a:t>mere klar ved timens start</a:t>
            </a:r>
            <a:r>
              <a:rPr lang="da-DK" sz="1400" dirty="0">
                <a:solidFill>
                  <a:schemeClr val="tx1"/>
                </a:solidFill>
                <a:latin typeface="Quicksand "/>
                <a:cs typeface="Amatic SC"/>
              </a:rPr>
              <a:t>, fordi de skal bruge færre kræfter på at tilpasse sig den enkelte lærers ønsker og tilgang.</a:t>
            </a:r>
          </a:p>
        </p:txBody>
      </p:sp>
      <p:sp>
        <p:nvSpPr>
          <p:cNvPr id="3" name="TextBox 2">
            <a:extLst>
              <a:ext uri="{FF2B5EF4-FFF2-40B4-BE49-F238E27FC236}">
                <a16:creationId xmlns:a16="http://schemas.microsoft.com/office/drawing/2014/main" id="{DC4DEC21-DCC0-2A12-8EF8-B5639B6D117A}"/>
              </a:ext>
            </a:extLst>
          </p:cNvPr>
          <p:cNvSpPr txBox="1"/>
          <p:nvPr/>
        </p:nvSpPr>
        <p:spPr>
          <a:xfrm>
            <a:off x="0" y="440201"/>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chor="t">
            <a:spAutoFit/>
          </a:bodyPr>
          <a:lstStyle/>
          <a:p>
            <a:pPr algn="ctr"/>
            <a:r>
              <a:rPr lang="da-DK" sz="4000" b="1" dirty="0">
                <a:latin typeface="Amatic SC"/>
                <a:cs typeface="Amatic SC"/>
              </a:rPr>
              <a:t>Prøvehandling: ensartede krav til eleverne</a:t>
            </a:r>
            <a:endParaRPr lang="da-DK" sz="4000" b="1" dirty="0">
              <a:latin typeface="Amatic SC" panose="00000500000000000000" pitchFamily="2" charset="-79"/>
              <a:cs typeface="Amatic SC" panose="00000500000000000000" pitchFamily="2" charset="-79"/>
            </a:endParaRPr>
          </a:p>
        </p:txBody>
      </p:sp>
      <p:grpSp>
        <p:nvGrpSpPr>
          <p:cNvPr id="10" name="Shape 98">
            <a:extLst>
              <a:ext uri="{FF2B5EF4-FFF2-40B4-BE49-F238E27FC236}">
                <a16:creationId xmlns:a16="http://schemas.microsoft.com/office/drawing/2014/main" id="{A3E48851-BC33-14D7-EE52-04AB1A3F2828}"/>
              </a:ext>
            </a:extLst>
          </p:cNvPr>
          <p:cNvGrpSpPr/>
          <p:nvPr/>
        </p:nvGrpSpPr>
        <p:grpSpPr>
          <a:xfrm rot="310810">
            <a:off x="4329430" y="2137895"/>
            <a:ext cx="434028" cy="386914"/>
            <a:chOff x="271125" y="812725"/>
            <a:chExt cx="766525" cy="221725"/>
          </a:xfrm>
          <a:solidFill>
            <a:srgbClr val="A3A196"/>
          </a:solidFill>
        </p:grpSpPr>
        <p:sp>
          <p:nvSpPr>
            <p:cNvPr id="11" name="Shape 99">
              <a:extLst>
                <a:ext uri="{FF2B5EF4-FFF2-40B4-BE49-F238E27FC236}">
                  <a16:creationId xmlns:a16="http://schemas.microsoft.com/office/drawing/2014/main" id="{7455ECF2-FD2A-A39D-37F9-C64F433397A9}"/>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2" name="Shape 100">
              <a:extLst>
                <a:ext uri="{FF2B5EF4-FFF2-40B4-BE49-F238E27FC236}">
                  <a16:creationId xmlns:a16="http://schemas.microsoft.com/office/drawing/2014/main" id="{D0AB5D55-7C7B-941C-A79B-1A72F80066D6}"/>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3" name="Shape 98">
            <a:extLst>
              <a:ext uri="{FF2B5EF4-FFF2-40B4-BE49-F238E27FC236}">
                <a16:creationId xmlns:a16="http://schemas.microsoft.com/office/drawing/2014/main" id="{7494248C-5D37-9574-4E0B-C1041DF8EBB7}"/>
              </a:ext>
            </a:extLst>
          </p:cNvPr>
          <p:cNvGrpSpPr/>
          <p:nvPr/>
        </p:nvGrpSpPr>
        <p:grpSpPr>
          <a:xfrm rot="310810">
            <a:off x="7387949" y="2118019"/>
            <a:ext cx="434028" cy="386914"/>
            <a:chOff x="271125" y="812725"/>
            <a:chExt cx="766525" cy="221725"/>
          </a:xfrm>
          <a:solidFill>
            <a:srgbClr val="A3A196"/>
          </a:solidFill>
        </p:grpSpPr>
        <p:sp>
          <p:nvSpPr>
            <p:cNvPr id="14" name="Shape 99">
              <a:extLst>
                <a:ext uri="{FF2B5EF4-FFF2-40B4-BE49-F238E27FC236}">
                  <a16:creationId xmlns:a16="http://schemas.microsoft.com/office/drawing/2014/main" id="{A9E3B612-ACD9-889D-54AC-0C599FC7BFD1}"/>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5" name="Shape 100">
              <a:extLst>
                <a:ext uri="{FF2B5EF4-FFF2-40B4-BE49-F238E27FC236}">
                  <a16:creationId xmlns:a16="http://schemas.microsoft.com/office/drawing/2014/main" id="{4C631583-378C-6F15-19F5-F1A17A4FC5B1}"/>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6" name="Group 15">
            <a:extLst>
              <a:ext uri="{FF2B5EF4-FFF2-40B4-BE49-F238E27FC236}">
                <a16:creationId xmlns:a16="http://schemas.microsoft.com/office/drawing/2014/main" id="{086E773C-8CE0-B5A7-8DBF-2EA56DCF7662}"/>
              </a:ext>
            </a:extLst>
          </p:cNvPr>
          <p:cNvGrpSpPr/>
          <p:nvPr/>
        </p:nvGrpSpPr>
        <p:grpSpPr>
          <a:xfrm>
            <a:off x="8841216" y="1474227"/>
            <a:ext cx="616927" cy="618408"/>
            <a:chOff x="8814517" y="1435625"/>
            <a:chExt cx="616927" cy="618408"/>
          </a:xfrm>
        </p:grpSpPr>
        <p:sp>
          <p:nvSpPr>
            <p:cNvPr id="17" name="Oval 16">
              <a:extLst>
                <a:ext uri="{FF2B5EF4-FFF2-40B4-BE49-F238E27FC236}">
                  <a16:creationId xmlns:a16="http://schemas.microsoft.com/office/drawing/2014/main" id="{07196382-B31B-7902-F5E0-B01F23F3B0AD}"/>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8" name="Graphic 17" descr="Bullseye outline">
              <a:extLst>
                <a:ext uri="{FF2B5EF4-FFF2-40B4-BE49-F238E27FC236}">
                  <a16:creationId xmlns:a16="http://schemas.microsoft.com/office/drawing/2014/main" id="{4274C11B-0B88-A426-D53B-6A5E8BDC76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19" name="Group 18">
            <a:extLst>
              <a:ext uri="{FF2B5EF4-FFF2-40B4-BE49-F238E27FC236}">
                <a16:creationId xmlns:a16="http://schemas.microsoft.com/office/drawing/2014/main" id="{160149C7-E7CA-459F-EF60-4404A17C0E4C}"/>
              </a:ext>
            </a:extLst>
          </p:cNvPr>
          <p:cNvGrpSpPr/>
          <p:nvPr/>
        </p:nvGrpSpPr>
        <p:grpSpPr>
          <a:xfrm>
            <a:off x="2743606" y="1467451"/>
            <a:ext cx="616927" cy="625184"/>
            <a:chOff x="2792332" y="1558205"/>
            <a:chExt cx="616927" cy="625184"/>
          </a:xfrm>
        </p:grpSpPr>
        <p:sp>
          <p:nvSpPr>
            <p:cNvPr id="20" name="Oval 19">
              <a:extLst>
                <a:ext uri="{FF2B5EF4-FFF2-40B4-BE49-F238E27FC236}">
                  <a16:creationId xmlns:a16="http://schemas.microsoft.com/office/drawing/2014/main" id="{98ED4977-16DD-F03B-D976-E1C1ADC8C726}"/>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1" name="Graphic 20" descr="Dim (Smaller Sun) outline">
              <a:extLst>
                <a:ext uri="{FF2B5EF4-FFF2-40B4-BE49-F238E27FC236}">
                  <a16:creationId xmlns:a16="http://schemas.microsoft.com/office/drawing/2014/main" id="{64A5201D-4F35-4F83-3113-EC960797B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grpSp>
        <p:nvGrpSpPr>
          <p:cNvPr id="22" name="Group 21">
            <a:extLst>
              <a:ext uri="{FF2B5EF4-FFF2-40B4-BE49-F238E27FC236}">
                <a16:creationId xmlns:a16="http://schemas.microsoft.com/office/drawing/2014/main" id="{144B14E3-F54F-5D3A-682F-B91D8E93817E}"/>
              </a:ext>
            </a:extLst>
          </p:cNvPr>
          <p:cNvGrpSpPr/>
          <p:nvPr/>
        </p:nvGrpSpPr>
        <p:grpSpPr>
          <a:xfrm>
            <a:off x="5787536" y="1474227"/>
            <a:ext cx="616927" cy="618408"/>
            <a:chOff x="5768721" y="1600573"/>
            <a:chExt cx="616927" cy="618408"/>
          </a:xfrm>
        </p:grpSpPr>
        <p:sp>
          <p:nvSpPr>
            <p:cNvPr id="23" name="Oval 22">
              <a:extLst>
                <a:ext uri="{FF2B5EF4-FFF2-40B4-BE49-F238E27FC236}">
                  <a16:creationId xmlns:a16="http://schemas.microsoft.com/office/drawing/2014/main" id="{A18C150C-E75C-590E-C41C-6A8A4F5B3637}"/>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4" name="Graphic 23" descr="Blueprint outline">
              <a:extLst>
                <a:ext uri="{FF2B5EF4-FFF2-40B4-BE49-F238E27FC236}">
                  <a16:creationId xmlns:a16="http://schemas.microsoft.com/office/drawing/2014/main" id="{A993F86E-D9BB-2CA8-1EED-0660026163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32796810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DE378429-0D90-3DD5-8FDC-014652E0D73F}"/>
              </a:ext>
            </a:extLst>
          </p:cNvPr>
          <p:cNvSpPr/>
          <p:nvPr/>
        </p:nvSpPr>
        <p:spPr>
          <a:xfrm>
            <a:off x="1867592" y="2068734"/>
            <a:ext cx="2360024" cy="458236"/>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Baggrund og formål</a:t>
            </a:r>
          </a:p>
        </p:txBody>
      </p:sp>
      <p:sp>
        <p:nvSpPr>
          <p:cNvPr id="33" name="Rectangle 32">
            <a:extLst>
              <a:ext uri="{FF2B5EF4-FFF2-40B4-BE49-F238E27FC236}">
                <a16:creationId xmlns:a16="http://schemas.microsoft.com/office/drawing/2014/main" id="{E9610F5E-5284-7E5E-317A-018E590AC769}"/>
              </a:ext>
            </a:extLst>
          </p:cNvPr>
          <p:cNvSpPr/>
          <p:nvPr/>
        </p:nvSpPr>
        <p:spPr>
          <a:xfrm>
            <a:off x="1867592" y="2543612"/>
            <a:ext cx="2360024" cy="3425387"/>
          </a:xfrm>
          <a:prstGeom prst="rect">
            <a:avLst/>
          </a:prstGeom>
          <a:solidFill>
            <a:schemeClr val="accent6">
              <a:lumMod val="20000"/>
              <a:lumOff val="8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a:r>
          </a:p>
          <a:p>
            <a:pPr marL="139700" indent="-139700">
              <a:spcAft>
                <a:spcPts val="600"/>
              </a:spcAft>
              <a:buFont typeface="Arial" panose="020B0604020202020204" pitchFamily="34" charset="0"/>
              <a:buChar char="•"/>
            </a:pPr>
            <a:endParaRPr lang="da-DK" sz="1400" dirty="0">
              <a:solidFill>
                <a:schemeClr val="tx1"/>
              </a:solidFill>
              <a:latin typeface="Quicksand "/>
              <a:cs typeface="Amatic SC" panose="00000500000000000000" pitchFamily="2" charset="-79"/>
            </a:endParaRPr>
          </a:p>
        </p:txBody>
      </p:sp>
      <p:grpSp>
        <p:nvGrpSpPr>
          <p:cNvPr id="25" name="Group 24">
            <a:extLst>
              <a:ext uri="{FF2B5EF4-FFF2-40B4-BE49-F238E27FC236}">
                <a16:creationId xmlns:a16="http://schemas.microsoft.com/office/drawing/2014/main" id="{1FBBA95F-49CE-19CC-EBBD-4F2EE4AF5CBA}"/>
              </a:ext>
            </a:extLst>
          </p:cNvPr>
          <p:cNvGrpSpPr/>
          <p:nvPr/>
        </p:nvGrpSpPr>
        <p:grpSpPr>
          <a:xfrm>
            <a:off x="4915988" y="2086456"/>
            <a:ext cx="2360024" cy="3882544"/>
            <a:chOff x="4908103" y="2068734"/>
            <a:chExt cx="2360024" cy="3585306"/>
          </a:xfrm>
        </p:grpSpPr>
        <p:sp>
          <p:nvSpPr>
            <p:cNvPr id="36" name="Rectangle 35">
              <a:extLst>
                <a:ext uri="{FF2B5EF4-FFF2-40B4-BE49-F238E27FC236}">
                  <a16:creationId xmlns:a16="http://schemas.microsoft.com/office/drawing/2014/main" id="{FDF73E5C-B667-FE57-4C8F-7E2033D688CB}"/>
                </a:ext>
              </a:extLst>
            </p:cNvPr>
            <p:cNvSpPr/>
            <p:nvPr/>
          </p:nvSpPr>
          <p:spPr>
            <a:xfrm>
              <a:off x="4908103" y="2068734"/>
              <a:ext cx="2360024" cy="458236"/>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Sådan gør vi</a:t>
              </a:r>
            </a:p>
          </p:txBody>
        </p:sp>
        <p:sp>
          <p:nvSpPr>
            <p:cNvPr id="37" name="Rectangle 36">
              <a:extLst>
                <a:ext uri="{FF2B5EF4-FFF2-40B4-BE49-F238E27FC236}">
                  <a16:creationId xmlns:a16="http://schemas.microsoft.com/office/drawing/2014/main" id="{0729E69F-73C3-D2EF-DAD5-1909F3F4DD14}"/>
                </a:ext>
              </a:extLst>
            </p:cNvPr>
            <p:cNvSpPr/>
            <p:nvPr/>
          </p:nvSpPr>
          <p:spPr>
            <a:xfrm>
              <a:off x="4908103" y="2522311"/>
              <a:ext cx="2360024" cy="3131729"/>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a:r>
            </a:p>
          </p:txBody>
        </p:sp>
      </p:grpSp>
      <p:sp>
        <p:nvSpPr>
          <p:cNvPr id="40" name="Rectangle 39">
            <a:extLst>
              <a:ext uri="{FF2B5EF4-FFF2-40B4-BE49-F238E27FC236}">
                <a16:creationId xmlns:a16="http://schemas.microsoft.com/office/drawing/2014/main" id="{6EAAA55B-D22A-9480-1DAE-40342510547C}"/>
              </a:ext>
            </a:extLst>
          </p:cNvPr>
          <p:cNvSpPr/>
          <p:nvPr/>
        </p:nvSpPr>
        <p:spPr>
          <a:xfrm>
            <a:off x="7969667" y="2068734"/>
            <a:ext cx="2360023" cy="458236"/>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b="1" noProof="0">
                <a:solidFill>
                  <a:schemeClr val="bg1"/>
                </a:solidFill>
                <a:latin typeface="Amatic SC" panose="00000500000000000000" pitchFamily="2" charset="-79"/>
                <a:cs typeface="Amatic SC" panose="00000500000000000000" pitchFamily="2" charset="-79"/>
              </a:rPr>
              <a:t>Det opnår vi</a:t>
            </a:r>
          </a:p>
        </p:txBody>
      </p:sp>
      <p:sp>
        <p:nvSpPr>
          <p:cNvPr id="41" name="Rectangle 40">
            <a:extLst>
              <a:ext uri="{FF2B5EF4-FFF2-40B4-BE49-F238E27FC236}">
                <a16:creationId xmlns:a16="http://schemas.microsoft.com/office/drawing/2014/main" id="{8F03E3B9-ECC6-3071-3B43-4551019D1EEF}"/>
              </a:ext>
            </a:extLst>
          </p:cNvPr>
          <p:cNvSpPr/>
          <p:nvPr/>
        </p:nvSpPr>
        <p:spPr>
          <a:xfrm>
            <a:off x="7969667" y="2531171"/>
            <a:ext cx="2360024" cy="3437828"/>
          </a:xfrm>
          <a:prstGeom prst="rect">
            <a:avLst/>
          </a:prstGeom>
          <a:solidFill>
            <a:schemeClr val="accent3">
              <a:lumMod val="20000"/>
              <a:lumOff val="8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marL="139700" indent="-139700">
              <a:spcAft>
                <a:spcPts val="600"/>
              </a:spcAft>
              <a:buFont typeface="Arial" panose="020B0604020202020204" pitchFamily="34" charset="0"/>
              <a:buChar char="•"/>
            </a:pPr>
            <a:r>
              <a:rPr lang="da-DK" sz="1400" dirty="0">
                <a:solidFill>
                  <a:schemeClr val="tx1"/>
                </a:solidFill>
                <a:latin typeface="Quicksand "/>
                <a:cs typeface="Amatic SC" panose="00000500000000000000" pitchFamily="2" charset="-79"/>
              </a:rPr>
              <a:t>….</a:t>
            </a:r>
          </a:p>
        </p:txBody>
      </p:sp>
      <p:sp>
        <p:nvSpPr>
          <p:cNvPr id="3" name="TextBox 2">
            <a:extLst>
              <a:ext uri="{FF2B5EF4-FFF2-40B4-BE49-F238E27FC236}">
                <a16:creationId xmlns:a16="http://schemas.microsoft.com/office/drawing/2014/main" id="{DC4DEC21-DCC0-2A12-8EF8-B5639B6D117A}"/>
              </a:ext>
            </a:extLst>
          </p:cNvPr>
          <p:cNvSpPr txBox="1"/>
          <p:nvPr/>
        </p:nvSpPr>
        <p:spPr>
          <a:xfrm>
            <a:off x="1867592" y="446875"/>
            <a:ext cx="8462098" cy="615553"/>
          </a:xfrm>
          <a:custGeom>
            <a:avLst/>
            <a:gdLst>
              <a:gd name="connsiteX0" fmla="*/ 0 w 8462098"/>
              <a:gd name="connsiteY0" fmla="*/ 0 h 615553"/>
              <a:gd name="connsiteX1" fmla="*/ 566310 w 8462098"/>
              <a:gd name="connsiteY1" fmla="*/ 0 h 615553"/>
              <a:gd name="connsiteX2" fmla="*/ 963377 w 8462098"/>
              <a:gd name="connsiteY2" fmla="*/ 0 h 615553"/>
              <a:gd name="connsiteX3" fmla="*/ 1783550 w 8462098"/>
              <a:gd name="connsiteY3" fmla="*/ 0 h 615553"/>
              <a:gd name="connsiteX4" fmla="*/ 2349860 w 8462098"/>
              <a:gd name="connsiteY4" fmla="*/ 0 h 615553"/>
              <a:gd name="connsiteX5" fmla="*/ 2916169 w 8462098"/>
              <a:gd name="connsiteY5" fmla="*/ 0 h 615553"/>
              <a:gd name="connsiteX6" fmla="*/ 3736342 w 8462098"/>
              <a:gd name="connsiteY6" fmla="*/ 0 h 615553"/>
              <a:gd name="connsiteX7" fmla="*/ 4218030 w 8462098"/>
              <a:gd name="connsiteY7" fmla="*/ 0 h 615553"/>
              <a:gd name="connsiteX8" fmla="*/ 5038203 w 8462098"/>
              <a:gd name="connsiteY8" fmla="*/ 0 h 615553"/>
              <a:gd name="connsiteX9" fmla="*/ 5858376 w 8462098"/>
              <a:gd name="connsiteY9" fmla="*/ 0 h 615553"/>
              <a:gd name="connsiteX10" fmla="*/ 6509306 w 8462098"/>
              <a:gd name="connsiteY10" fmla="*/ 0 h 615553"/>
              <a:gd name="connsiteX11" fmla="*/ 7329479 w 8462098"/>
              <a:gd name="connsiteY11" fmla="*/ 0 h 615553"/>
              <a:gd name="connsiteX12" fmla="*/ 7895788 w 8462098"/>
              <a:gd name="connsiteY12" fmla="*/ 0 h 615553"/>
              <a:gd name="connsiteX13" fmla="*/ 8462098 w 8462098"/>
              <a:gd name="connsiteY13" fmla="*/ 0 h 615553"/>
              <a:gd name="connsiteX14" fmla="*/ 8462098 w 8462098"/>
              <a:gd name="connsiteY14" fmla="*/ 615553 h 615553"/>
              <a:gd name="connsiteX15" fmla="*/ 7811167 w 8462098"/>
              <a:gd name="connsiteY15" fmla="*/ 615553 h 615553"/>
              <a:gd name="connsiteX16" fmla="*/ 7160237 w 8462098"/>
              <a:gd name="connsiteY16" fmla="*/ 615553 h 615553"/>
              <a:gd name="connsiteX17" fmla="*/ 6340064 w 8462098"/>
              <a:gd name="connsiteY17" fmla="*/ 615553 h 615553"/>
              <a:gd name="connsiteX18" fmla="*/ 5689134 w 8462098"/>
              <a:gd name="connsiteY18" fmla="*/ 615553 h 615553"/>
              <a:gd name="connsiteX19" fmla="*/ 5292066 w 8462098"/>
              <a:gd name="connsiteY19" fmla="*/ 615553 h 615553"/>
              <a:gd name="connsiteX20" fmla="*/ 4810377 w 8462098"/>
              <a:gd name="connsiteY20" fmla="*/ 615553 h 615553"/>
              <a:gd name="connsiteX21" fmla="*/ 3990205 w 8462098"/>
              <a:gd name="connsiteY21" fmla="*/ 615553 h 615553"/>
              <a:gd name="connsiteX22" fmla="*/ 3339274 w 8462098"/>
              <a:gd name="connsiteY22" fmla="*/ 615553 h 615553"/>
              <a:gd name="connsiteX23" fmla="*/ 2857585 w 8462098"/>
              <a:gd name="connsiteY23" fmla="*/ 615553 h 615553"/>
              <a:gd name="connsiteX24" fmla="*/ 2206655 w 8462098"/>
              <a:gd name="connsiteY24" fmla="*/ 615553 h 615553"/>
              <a:gd name="connsiteX25" fmla="*/ 1809587 w 8462098"/>
              <a:gd name="connsiteY25" fmla="*/ 615553 h 615553"/>
              <a:gd name="connsiteX26" fmla="*/ 1412519 w 8462098"/>
              <a:gd name="connsiteY26" fmla="*/ 615553 h 615553"/>
              <a:gd name="connsiteX27" fmla="*/ 761589 w 8462098"/>
              <a:gd name="connsiteY27" fmla="*/ 615553 h 615553"/>
              <a:gd name="connsiteX28" fmla="*/ 0 w 8462098"/>
              <a:gd name="connsiteY28" fmla="*/ 615553 h 615553"/>
              <a:gd name="connsiteX29" fmla="*/ 0 w 8462098"/>
              <a:gd name="connsiteY29"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8462098" h="615553" extrusionOk="0">
                <a:moveTo>
                  <a:pt x="0" y="0"/>
                </a:moveTo>
                <a:cubicBezTo>
                  <a:pt x="160371" y="-21063"/>
                  <a:pt x="388817" y="-21861"/>
                  <a:pt x="566310" y="0"/>
                </a:cubicBezTo>
                <a:cubicBezTo>
                  <a:pt x="743803" y="21861"/>
                  <a:pt x="844430" y="-8764"/>
                  <a:pt x="963377" y="0"/>
                </a:cubicBezTo>
                <a:cubicBezTo>
                  <a:pt x="1082324" y="8764"/>
                  <a:pt x="1393773" y="-22687"/>
                  <a:pt x="1783550" y="0"/>
                </a:cubicBezTo>
                <a:cubicBezTo>
                  <a:pt x="2173327" y="22687"/>
                  <a:pt x="2145406" y="14870"/>
                  <a:pt x="2349860" y="0"/>
                </a:cubicBezTo>
                <a:cubicBezTo>
                  <a:pt x="2554314" y="-14870"/>
                  <a:pt x="2779504" y="-24181"/>
                  <a:pt x="2916169" y="0"/>
                </a:cubicBezTo>
                <a:cubicBezTo>
                  <a:pt x="3052834" y="24181"/>
                  <a:pt x="3524574" y="-11324"/>
                  <a:pt x="3736342" y="0"/>
                </a:cubicBezTo>
                <a:cubicBezTo>
                  <a:pt x="3948110" y="11324"/>
                  <a:pt x="4071669" y="18395"/>
                  <a:pt x="4218030" y="0"/>
                </a:cubicBezTo>
                <a:cubicBezTo>
                  <a:pt x="4364391" y="-18395"/>
                  <a:pt x="4720330" y="1368"/>
                  <a:pt x="5038203" y="0"/>
                </a:cubicBezTo>
                <a:cubicBezTo>
                  <a:pt x="5356076" y="-1368"/>
                  <a:pt x="5595031" y="-12453"/>
                  <a:pt x="5858376" y="0"/>
                </a:cubicBezTo>
                <a:cubicBezTo>
                  <a:pt x="6121721" y="12453"/>
                  <a:pt x="6238061" y="9171"/>
                  <a:pt x="6509306" y="0"/>
                </a:cubicBezTo>
                <a:cubicBezTo>
                  <a:pt x="6780551" y="-9171"/>
                  <a:pt x="6987025" y="-29831"/>
                  <a:pt x="7329479" y="0"/>
                </a:cubicBezTo>
                <a:cubicBezTo>
                  <a:pt x="7671933" y="29831"/>
                  <a:pt x="7640529" y="5291"/>
                  <a:pt x="7895788" y="0"/>
                </a:cubicBezTo>
                <a:cubicBezTo>
                  <a:pt x="8151047" y="-5291"/>
                  <a:pt x="8188143" y="-13754"/>
                  <a:pt x="8462098" y="0"/>
                </a:cubicBezTo>
                <a:cubicBezTo>
                  <a:pt x="8489693" y="176081"/>
                  <a:pt x="8480796" y="323334"/>
                  <a:pt x="8462098" y="615553"/>
                </a:cubicBezTo>
                <a:cubicBezTo>
                  <a:pt x="8139721" y="601309"/>
                  <a:pt x="8050628" y="626349"/>
                  <a:pt x="7811167" y="615553"/>
                </a:cubicBezTo>
                <a:cubicBezTo>
                  <a:pt x="7571706" y="604757"/>
                  <a:pt x="7337702" y="628231"/>
                  <a:pt x="7160237" y="615553"/>
                </a:cubicBezTo>
                <a:cubicBezTo>
                  <a:pt x="6982772" y="602876"/>
                  <a:pt x="6592350" y="634323"/>
                  <a:pt x="6340064" y="615553"/>
                </a:cubicBezTo>
                <a:cubicBezTo>
                  <a:pt x="6087778" y="596783"/>
                  <a:pt x="6006047" y="607233"/>
                  <a:pt x="5689134" y="615553"/>
                </a:cubicBezTo>
                <a:cubicBezTo>
                  <a:pt x="5372221" y="623874"/>
                  <a:pt x="5485777" y="598310"/>
                  <a:pt x="5292066" y="615553"/>
                </a:cubicBezTo>
                <a:cubicBezTo>
                  <a:pt x="5098355" y="632796"/>
                  <a:pt x="4936470" y="623576"/>
                  <a:pt x="4810377" y="615553"/>
                </a:cubicBezTo>
                <a:cubicBezTo>
                  <a:pt x="4684284" y="607530"/>
                  <a:pt x="4385299" y="632306"/>
                  <a:pt x="3990205" y="615553"/>
                </a:cubicBezTo>
                <a:cubicBezTo>
                  <a:pt x="3595111" y="598800"/>
                  <a:pt x="3593909" y="647786"/>
                  <a:pt x="3339274" y="615553"/>
                </a:cubicBezTo>
                <a:cubicBezTo>
                  <a:pt x="3084639" y="583320"/>
                  <a:pt x="3002606" y="618873"/>
                  <a:pt x="2857585" y="615553"/>
                </a:cubicBezTo>
                <a:cubicBezTo>
                  <a:pt x="2712564" y="612233"/>
                  <a:pt x="2528916" y="646833"/>
                  <a:pt x="2206655" y="615553"/>
                </a:cubicBezTo>
                <a:cubicBezTo>
                  <a:pt x="1884394" y="584274"/>
                  <a:pt x="1906587" y="634439"/>
                  <a:pt x="1809587" y="615553"/>
                </a:cubicBezTo>
                <a:cubicBezTo>
                  <a:pt x="1712587" y="596667"/>
                  <a:pt x="1605468" y="597596"/>
                  <a:pt x="1412519" y="615553"/>
                </a:cubicBezTo>
                <a:cubicBezTo>
                  <a:pt x="1219570" y="633510"/>
                  <a:pt x="1047207" y="632031"/>
                  <a:pt x="761589" y="615553"/>
                </a:cubicBezTo>
                <a:cubicBezTo>
                  <a:pt x="475971" y="599076"/>
                  <a:pt x="195988" y="649860"/>
                  <a:pt x="0" y="615553"/>
                </a:cubicBezTo>
                <a:cubicBezTo>
                  <a:pt x="-21020" y="376914"/>
                  <a:pt x="14360" y="256431"/>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chor="t">
            <a:spAutoFit/>
          </a:bodyPr>
          <a:lstStyle/>
          <a:p>
            <a:pPr algn="ctr"/>
            <a:r>
              <a:rPr lang="da-DK" sz="4000" b="1" dirty="0">
                <a:latin typeface="Amatic SC"/>
                <a:cs typeface="Amatic SC"/>
              </a:rPr>
              <a:t>Prøvehandling:</a:t>
            </a:r>
            <a:endParaRPr lang="da-DK" sz="4000" b="1" dirty="0">
              <a:latin typeface="Amatic SC" panose="00000500000000000000" pitchFamily="2" charset="-79"/>
              <a:cs typeface="Amatic SC" panose="00000500000000000000" pitchFamily="2" charset="-79"/>
            </a:endParaRPr>
          </a:p>
        </p:txBody>
      </p:sp>
      <p:grpSp>
        <p:nvGrpSpPr>
          <p:cNvPr id="10" name="Shape 98">
            <a:extLst>
              <a:ext uri="{FF2B5EF4-FFF2-40B4-BE49-F238E27FC236}">
                <a16:creationId xmlns:a16="http://schemas.microsoft.com/office/drawing/2014/main" id="{A3E48851-BC33-14D7-EE52-04AB1A3F2828}"/>
              </a:ext>
            </a:extLst>
          </p:cNvPr>
          <p:cNvGrpSpPr/>
          <p:nvPr/>
        </p:nvGrpSpPr>
        <p:grpSpPr>
          <a:xfrm rot="310810">
            <a:off x="4329430" y="2137895"/>
            <a:ext cx="434028" cy="386914"/>
            <a:chOff x="271125" y="812725"/>
            <a:chExt cx="766525" cy="221725"/>
          </a:xfrm>
          <a:solidFill>
            <a:srgbClr val="A3A196"/>
          </a:solidFill>
        </p:grpSpPr>
        <p:sp>
          <p:nvSpPr>
            <p:cNvPr id="11" name="Shape 99">
              <a:extLst>
                <a:ext uri="{FF2B5EF4-FFF2-40B4-BE49-F238E27FC236}">
                  <a16:creationId xmlns:a16="http://schemas.microsoft.com/office/drawing/2014/main" id="{7455ECF2-FD2A-A39D-37F9-C64F433397A9}"/>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2" name="Shape 100">
              <a:extLst>
                <a:ext uri="{FF2B5EF4-FFF2-40B4-BE49-F238E27FC236}">
                  <a16:creationId xmlns:a16="http://schemas.microsoft.com/office/drawing/2014/main" id="{D0AB5D55-7C7B-941C-A79B-1A72F80066D6}"/>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3" name="Shape 98">
            <a:extLst>
              <a:ext uri="{FF2B5EF4-FFF2-40B4-BE49-F238E27FC236}">
                <a16:creationId xmlns:a16="http://schemas.microsoft.com/office/drawing/2014/main" id="{7494248C-5D37-9574-4E0B-C1041DF8EBB7}"/>
              </a:ext>
            </a:extLst>
          </p:cNvPr>
          <p:cNvGrpSpPr/>
          <p:nvPr/>
        </p:nvGrpSpPr>
        <p:grpSpPr>
          <a:xfrm rot="310810">
            <a:off x="7387949" y="2118019"/>
            <a:ext cx="434028" cy="386914"/>
            <a:chOff x="271125" y="812725"/>
            <a:chExt cx="766525" cy="221725"/>
          </a:xfrm>
          <a:solidFill>
            <a:srgbClr val="A3A196"/>
          </a:solidFill>
        </p:grpSpPr>
        <p:sp>
          <p:nvSpPr>
            <p:cNvPr id="14" name="Shape 99">
              <a:extLst>
                <a:ext uri="{FF2B5EF4-FFF2-40B4-BE49-F238E27FC236}">
                  <a16:creationId xmlns:a16="http://schemas.microsoft.com/office/drawing/2014/main" id="{A9E3B612-ACD9-889D-54AC-0C599FC7BFD1}"/>
                </a:ext>
              </a:extLst>
            </p:cNvPr>
            <p:cNvSpPr/>
            <p:nvPr/>
          </p:nvSpPr>
          <p:spPr>
            <a:xfrm>
              <a:off x="271125" y="921200"/>
              <a:ext cx="695775" cy="70775"/>
            </a:xfrm>
            <a:custGeom>
              <a:avLst/>
              <a:gdLst/>
              <a:ahLst/>
              <a:cxnLst/>
              <a:rect l="0" t="0" r="0" b="0"/>
              <a:pathLst>
                <a:path w="27831" h="2831" extrusionOk="0">
                  <a:moveTo>
                    <a:pt x="27264" y="944"/>
                  </a:moveTo>
                  <a:lnTo>
                    <a:pt x="27359" y="1086"/>
                  </a:lnTo>
                  <a:lnTo>
                    <a:pt x="27359" y="944"/>
                  </a:lnTo>
                  <a:close/>
                  <a:moveTo>
                    <a:pt x="27359" y="1086"/>
                  </a:moveTo>
                  <a:lnTo>
                    <a:pt x="27359" y="1133"/>
                  </a:lnTo>
                  <a:lnTo>
                    <a:pt x="27372" y="1106"/>
                  </a:lnTo>
                  <a:lnTo>
                    <a:pt x="27372" y="1106"/>
                  </a:lnTo>
                  <a:lnTo>
                    <a:pt x="27359" y="1086"/>
                  </a:lnTo>
                  <a:close/>
                  <a:moveTo>
                    <a:pt x="27453" y="944"/>
                  </a:moveTo>
                  <a:lnTo>
                    <a:pt x="27372" y="1106"/>
                  </a:lnTo>
                  <a:lnTo>
                    <a:pt x="27372" y="1106"/>
                  </a:lnTo>
                  <a:lnTo>
                    <a:pt x="27453" y="1227"/>
                  </a:lnTo>
                  <a:lnTo>
                    <a:pt x="27453" y="944"/>
                  </a:lnTo>
                  <a:close/>
                  <a:moveTo>
                    <a:pt x="27642" y="1039"/>
                  </a:moveTo>
                  <a:lnTo>
                    <a:pt x="27453" y="1227"/>
                  </a:lnTo>
                  <a:lnTo>
                    <a:pt x="27453" y="1322"/>
                  </a:lnTo>
                  <a:lnTo>
                    <a:pt x="27453" y="1416"/>
                  </a:lnTo>
                  <a:lnTo>
                    <a:pt x="27830" y="1416"/>
                  </a:lnTo>
                  <a:lnTo>
                    <a:pt x="27830" y="1227"/>
                  </a:lnTo>
                  <a:lnTo>
                    <a:pt x="27736" y="1322"/>
                  </a:lnTo>
                  <a:lnTo>
                    <a:pt x="27736" y="1227"/>
                  </a:lnTo>
                  <a:lnTo>
                    <a:pt x="27736" y="1133"/>
                  </a:lnTo>
                  <a:lnTo>
                    <a:pt x="27642" y="1039"/>
                  </a:lnTo>
                  <a:close/>
                  <a:moveTo>
                    <a:pt x="20189" y="1"/>
                  </a:moveTo>
                  <a:lnTo>
                    <a:pt x="20095" y="190"/>
                  </a:lnTo>
                  <a:lnTo>
                    <a:pt x="20000" y="95"/>
                  </a:lnTo>
                  <a:lnTo>
                    <a:pt x="19906" y="284"/>
                  </a:lnTo>
                  <a:lnTo>
                    <a:pt x="19812" y="473"/>
                  </a:lnTo>
                  <a:lnTo>
                    <a:pt x="19529" y="284"/>
                  </a:lnTo>
                  <a:lnTo>
                    <a:pt x="19340" y="95"/>
                  </a:lnTo>
                  <a:lnTo>
                    <a:pt x="19246" y="95"/>
                  </a:lnTo>
                  <a:lnTo>
                    <a:pt x="19246" y="190"/>
                  </a:lnTo>
                  <a:lnTo>
                    <a:pt x="19151" y="378"/>
                  </a:lnTo>
                  <a:lnTo>
                    <a:pt x="19434" y="190"/>
                  </a:lnTo>
                  <a:lnTo>
                    <a:pt x="19246" y="473"/>
                  </a:lnTo>
                  <a:lnTo>
                    <a:pt x="19434" y="378"/>
                  </a:lnTo>
                  <a:lnTo>
                    <a:pt x="19434" y="567"/>
                  </a:lnTo>
                  <a:lnTo>
                    <a:pt x="19151" y="567"/>
                  </a:lnTo>
                  <a:lnTo>
                    <a:pt x="19151" y="190"/>
                  </a:lnTo>
                  <a:lnTo>
                    <a:pt x="19057" y="95"/>
                  </a:lnTo>
                  <a:lnTo>
                    <a:pt x="18963" y="95"/>
                  </a:lnTo>
                  <a:lnTo>
                    <a:pt x="18774" y="284"/>
                  </a:lnTo>
                  <a:lnTo>
                    <a:pt x="18680" y="473"/>
                  </a:lnTo>
                  <a:lnTo>
                    <a:pt x="18585" y="378"/>
                  </a:lnTo>
                  <a:lnTo>
                    <a:pt x="18491" y="190"/>
                  </a:lnTo>
                  <a:lnTo>
                    <a:pt x="18397" y="378"/>
                  </a:lnTo>
                  <a:lnTo>
                    <a:pt x="17925" y="567"/>
                  </a:lnTo>
                  <a:lnTo>
                    <a:pt x="18019" y="284"/>
                  </a:lnTo>
                  <a:lnTo>
                    <a:pt x="17831" y="378"/>
                  </a:lnTo>
                  <a:lnTo>
                    <a:pt x="17642" y="567"/>
                  </a:lnTo>
                  <a:lnTo>
                    <a:pt x="17642" y="661"/>
                  </a:lnTo>
                  <a:lnTo>
                    <a:pt x="17453" y="567"/>
                  </a:lnTo>
                  <a:lnTo>
                    <a:pt x="17170" y="473"/>
                  </a:lnTo>
                  <a:lnTo>
                    <a:pt x="16699" y="473"/>
                  </a:lnTo>
                  <a:lnTo>
                    <a:pt x="16699" y="567"/>
                  </a:lnTo>
                  <a:lnTo>
                    <a:pt x="16604" y="661"/>
                  </a:lnTo>
                  <a:lnTo>
                    <a:pt x="16416" y="378"/>
                  </a:lnTo>
                  <a:lnTo>
                    <a:pt x="16227" y="378"/>
                  </a:lnTo>
                  <a:lnTo>
                    <a:pt x="15661" y="661"/>
                  </a:lnTo>
                  <a:lnTo>
                    <a:pt x="15661" y="473"/>
                  </a:lnTo>
                  <a:lnTo>
                    <a:pt x="15567" y="756"/>
                  </a:lnTo>
                  <a:lnTo>
                    <a:pt x="15378" y="473"/>
                  </a:lnTo>
                  <a:lnTo>
                    <a:pt x="15567" y="473"/>
                  </a:lnTo>
                  <a:lnTo>
                    <a:pt x="15472" y="378"/>
                  </a:lnTo>
                  <a:lnTo>
                    <a:pt x="15378" y="378"/>
                  </a:lnTo>
                  <a:lnTo>
                    <a:pt x="15189" y="473"/>
                  </a:lnTo>
                  <a:lnTo>
                    <a:pt x="15000" y="756"/>
                  </a:lnTo>
                  <a:lnTo>
                    <a:pt x="14906" y="661"/>
                  </a:lnTo>
                  <a:lnTo>
                    <a:pt x="14812" y="473"/>
                  </a:lnTo>
                  <a:lnTo>
                    <a:pt x="14529" y="756"/>
                  </a:lnTo>
                  <a:lnTo>
                    <a:pt x="14623" y="567"/>
                  </a:lnTo>
                  <a:lnTo>
                    <a:pt x="14529" y="661"/>
                  </a:lnTo>
                  <a:lnTo>
                    <a:pt x="14340" y="756"/>
                  </a:lnTo>
                  <a:lnTo>
                    <a:pt x="14340" y="567"/>
                  </a:lnTo>
                  <a:lnTo>
                    <a:pt x="14246" y="473"/>
                  </a:lnTo>
                  <a:lnTo>
                    <a:pt x="13963" y="378"/>
                  </a:lnTo>
                  <a:lnTo>
                    <a:pt x="13585" y="284"/>
                  </a:lnTo>
                  <a:lnTo>
                    <a:pt x="13302" y="284"/>
                  </a:lnTo>
                  <a:lnTo>
                    <a:pt x="13302" y="378"/>
                  </a:lnTo>
                  <a:lnTo>
                    <a:pt x="13302" y="473"/>
                  </a:lnTo>
                  <a:lnTo>
                    <a:pt x="13208" y="473"/>
                  </a:lnTo>
                  <a:lnTo>
                    <a:pt x="13208" y="661"/>
                  </a:lnTo>
                  <a:lnTo>
                    <a:pt x="13114" y="661"/>
                  </a:lnTo>
                  <a:lnTo>
                    <a:pt x="13019" y="567"/>
                  </a:lnTo>
                  <a:lnTo>
                    <a:pt x="12925" y="378"/>
                  </a:lnTo>
                  <a:lnTo>
                    <a:pt x="12831" y="95"/>
                  </a:lnTo>
                  <a:lnTo>
                    <a:pt x="12831" y="378"/>
                  </a:lnTo>
                  <a:lnTo>
                    <a:pt x="12736" y="378"/>
                  </a:lnTo>
                  <a:lnTo>
                    <a:pt x="12642" y="284"/>
                  </a:lnTo>
                  <a:lnTo>
                    <a:pt x="12548" y="190"/>
                  </a:lnTo>
                  <a:lnTo>
                    <a:pt x="12265" y="190"/>
                  </a:lnTo>
                  <a:lnTo>
                    <a:pt x="12170" y="473"/>
                  </a:lnTo>
                  <a:lnTo>
                    <a:pt x="12076" y="378"/>
                  </a:lnTo>
                  <a:lnTo>
                    <a:pt x="11887" y="284"/>
                  </a:lnTo>
                  <a:lnTo>
                    <a:pt x="11510" y="378"/>
                  </a:lnTo>
                  <a:lnTo>
                    <a:pt x="10755" y="661"/>
                  </a:lnTo>
                  <a:lnTo>
                    <a:pt x="10661" y="473"/>
                  </a:lnTo>
                  <a:lnTo>
                    <a:pt x="10567" y="378"/>
                  </a:lnTo>
                  <a:lnTo>
                    <a:pt x="10095" y="378"/>
                  </a:lnTo>
                  <a:lnTo>
                    <a:pt x="9529" y="473"/>
                  </a:lnTo>
                  <a:lnTo>
                    <a:pt x="9340" y="473"/>
                  </a:lnTo>
                  <a:lnTo>
                    <a:pt x="9152" y="378"/>
                  </a:lnTo>
                  <a:lnTo>
                    <a:pt x="9152" y="473"/>
                  </a:lnTo>
                  <a:lnTo>
                    <a:pt x="9152" y="567"/>
                  </a:lnTo>
                  <a:lnTo>
                    <a:pt x="8963" y="661"/>
                  </a:lnTo>
                  <a:lnTo>
                    <a:pt x="8869" y="567"/>
                  </a:lnTo>
                  <a:lnTo>
                    <a:pt x="8680" y="473"/>
                  </a:lnTo>
                  <a:lnTo>
                    <a:pt x="8680" y="756"/>
                  </a:lnTo>
                  <a:lnTo>
                    <a:pt x="8491" y="661"/>
                  </a:lnTo>
                  <a:lnTo>
                    <a:pt x="8208" y="567"/>
                  </a:lnTo>
                  <a:lnTo>
                    <a:pt x="7925" y="661"/>
                  </a:lnTo>
                  <a:lnTo>
                    <a:pt x="7831" y="756"/>
                  </a:lnTo>
                  <a:lnTo>
                    <a:pt x="7548" y="567"/>
                  </a:lnTo>
                  <a:lnTo>
                    <a:pt x="7359" y="473"/>
                  </a:lnTo>
                  <a:lnTo>
                    <a:pt x="7170" y="944"/>
                  </a:lnTo>
                  <a:lnTo>
                    <a:pt x="6982" y="661"/>
                  </a:lnTo>
                  <a:lnTo>
                    <a:pt x="6793" y="661"/>
                  </a:lnTo>
                  <a:lnTo>
                    <a:pt x="6604" y="756"/>
                  </a:lnTo>
                  <a:lnTo>
                    <a:pt x="6510" y="661"/>
                  </a:lnTo>
                  <a:lnTo>
                    <a:pt x="6416" y="756"/>
                  </a:lnTo>
                  <a:lnTo>
                    <a:pt x="6038" y="944"/>
                  </a:lnTo>
                  <a:lnTo>
                    <a:pt x="6038" y="1039"/>
                  </a:lnTo>
                  <a:lnTo>
                    <a:pt x="5850" y="1133"/>
                  </a:lnTo>
                  <a:lnTo>
                    <a:pt x="5850" y="1039"/>
                  </a:lnTo>
                  <a:lnTo>
                    <a:pt x="5755" y="1039"/>
                  </a:lnTo>
                  <a:lnTo>
                    <a:pt x="5567" y="1227"/>
                  </a:lnTo>
                  <a:lnTo>
                    <a:pt x="5472" y="1227"/>
                  </a:lnTo>
                  <a:lnTo>
                    <a:pt x="5378" y="1039"/>
                  </a:lnTo>
                  <a:lnTo>
                    <a:pt x="5378" y="1133"/>
                  </a:lnTo>
                  <a:lnTo>
                    <a:pt x="5189" y="1227"/>
                  </a:lnTo>
                  <a:lnTo>
                    <a:pt x="5095" y="1133"/>
                  </a:lnTo>
                  <a:lnTo>
                    <a:pt x="4906" y="1039"/>
                  </a:lnTo>
                  <a:lnTo>
                    <a:pt x="5189" y="1039"/>
                  </a:lnTo>
                  <a:lnTo>
                    <a:pt x="5095" y="944"/>
                  </a:lnTo>
                  <a:lnTo>
                    <a:pt x="5095" y="756"/>
                  </a:lnTo>
                  <a:lnTo>
                    <a:pt x="5001" y="944"/>
                  </a:lnTo>
                  <a:lnTo>
                    <a:pt x="4529" y="944"/>
                  </a:lnTo>
                  <a:lnTo>
                    <a:pt x="4529" y="1133"/>
                  </a:lnTo>
                  <a:lnTo>
                    <a:pt x="4718" y="1133"/>
                  </a:lnTo>
                  <a:lnTo>
                    <a:pt x="4623" y="1227"/>
                  </a:lnTo>
                  <a:lnTo>
                    <a:pt x="4623" y="1133"/>
                  </a:lnTo>
                  <a:lnTo>
                    <a:pt x="4529" y="1416"/>
                  </a:lnTo>
                  <a:lnTo>
                    <a:pt x="4340" y="1227"/>
                  </a:lnTo>
                  <a:lnTo>
                    <a:pt x="4152" y="1039"/>
                  </a:lnTo>
                  <a:lnTo>
                    <a:pt x="3963" y="1039"/>
                  </a:lnTo>
                  <a:lnTo>
                    <a:pt x="3774" y="1416"/>
                  </a:lnTo>
                  <a:lnTo>
                    <a:pt x="3774" y="1322"/>
                  </a:lnTo>
                  <a:lnTo>
                    <a:pt x="3774" y="1227"/>
                  </a:lnTo>
                  <a:lnTo>
                    <a:pt x="3680" y="1322"/>
                  </a:lnTo>
                  <a:lnTo>
                    <a:pt x="3586" y="1510"/>
                  </a:lnTo>
                  <a:lnTo>
                    <a:pt x="3208" y="1416"/>
                  </a:lnTo>
                  <a:lnTo>
                    <a:pt x="2454" y="1416"/>
                  </a:lnTo>
                  <a:lnTo>
                    <a:pt x="1793" y="1510"/>
                  </a:lnTo>
                  <a:lnTo>
                    <a:pt x="1510" y="1605"/>
                  </a:lnTo>
                  <a:lnTo>
                    <a:pt x="1321" y="1699"/>
                  </a:lnTo>
                  <a:lnTo>
                    <a:pt x="1321" y="1605"/>
                  </a:lnTo>
                  <a:lnTo>
                    <a:pt x="1038" y="1699"/>
                  </a:lnTo>
                  <a:lnTo>
                    <a:pt x="755" y="1793"/>
                  </a:lnTo>
                  <a:lnTo>
                    <a:pt x="567" y="1793"/>
                  </a:lnTo>
                  <a:lnTo>
                    <a:pt x="378" y="1888"/>
                  </a:lnTo>
                  <a:lnTo>
                    <a:pt x="284" y="1699"/>
                  </a:lnTo>
                  <a:lnTo>
                    <a:pt x="95" y="1605"/>
                  </a:lnTo>
                  <a:lnTo>
                    <a:pt x="1" y="1793"/>
                  </a:lnTo>
                  <a:lnTo>
                    <a:pt x="1" y="2076"/>
                  </a:lnTo>
                  <a:lnTo>
                    <a:pt x="95" y="2548"/>
                  </a:lnTo>
                  <a:lnTo>
                    <a:pt x="189" y="2831"/>
                  </a:lnTo>
                  <a:lnTo>
                    <a:pt x="284" y="2737"/>
                  </a:lnTo>
                  <a:lnTo>
                    <a:pt x="472" y="2831"/>
                  </a:lnTo>
                  <a:lnTo>
                    <a:pt x="567" y="2548"/>
                  </a:lnTo>
                  <a:lnTo>
                    <a:pt x="661" y="2642"/>
                  </a:lnTo>
                  <a:lnTo>
                    <a:pt x="661" y="2737"/>
                  </a:lnTo>
                  <a:lnTo>
                    <a:pt x="755" y="2642"/>
                  </a:lnTo>
                  <a:lnTo>
                    <a:pt x="944" y="2548"/>
                  </a:lnTo>
                  <a:lnTo>
                    <a:pt x="1227" y="2548"/>
                  </a:lnTo>
                  <a:lnTo>
                    <a:pt x="1227" y="2642"/>
                  </a:lnTo>
                  <a:lnTo>
                    <a:pt x="1321" y="2737"/>
                  </a:lnTo>
                  <a:lnTo>
                    <a:pt x="1416" y="2831"/>
                  </a:lnTo>
                  <a:lnTo>
                    <a:pt x="1510" y="2642"/>
                  </a:lnTo>
                  <a:lnTo>
                    <a:pt x="1793" y="2548"/>
                  </a:lnTo>
                  <a:lnTo>
                    <a:pt x="1699" y="2642"/>
                  </a:lnTo>
                  <a:lnTo>
                    <a:pt x="1887" y="2737"/>
                  </a:lnTo>
                  <a:lnTo>
                    <a:pt x="1887" y="2454"/>
                  </a:lnTo>
                  <a:lnTo>
                    <a:pt x="1982" y="2265"/>
                  </a:lnTo>
                  <a:lnTo>
                    <a:pt x="2076" y="2737"/>
                  </a:lnTo>
                  <a:lnTo>
                    <a:pt x="2171" y="2359"/>
                  </a:lnTo>
                  <a:lnTo>
                    <a:pt x="2265" y="2642"/>
                  </a:lnTo>
                  <a:lnTo>
                    <a:pt x="2265" y="2548"/>
                  </a:lnTo>
                  <a:lnTo>
                    <a:pt x="2359" y="2454"/>
                  </a:lnTo>
                  <a:lnTo>
                    <a:pt x="2454" y="2548"/>
                  </a:lnTo>
                  <a:lnTo>
                    <a:pt x="2454" y="2737"/>
                  </a:lnTo>
                  <a:lnTo>
                    <a:pt x="2548" y="2548"/>
                  </a:lnTo>
                  <a:lnTo>
                    <a:pt x="2548" y="2454"/>
                  </a:lnTo>
                  <a:lnTo>
                    <a:pt x="2642" y="2548"/>
                  </a:lnTo>
                  <a:lnTo>
                    <a:pt x="2642" y="2642"/>
                  </a:lnTo>
                  <a:lnTo>
                    <a:pt x="2831" y="2454"/>
                  </a:lnTo>
                  <a:lnTo>
                    <a:pt x="3020" y="2454"/>
                  </a:lnTo>
                  <a:lnTo>
                    <a:pt x="3114" y="2265"/>
                  </a:lnTo>
                  <a:lnTo>
                    <a:pt x="3114" y="2076"/>
                  </a:lnTo>
                  <a:lnTo>
                    <a:pt x="3208" y="1982"/>
                  </a:lnTo>
                  <a:lnTo>
                    <a:pt x="3208" y="2076"/>
                  </a:lnTo>
                  <a:lnTo>
                    <a:pt x="3208" y="2265"/>
                  </a:lnTo>
                  <a:lnTo>
                    <a:pt x="3303" y="2076"/>
                  </a:lnTo>
                  <a:lnTo>
                    <a:pt x="3491" y="2076"/>
                  </a:lnTo>
                  <a:lnTo>
                    <a:pt x="3491" y="2171"/>
                  </a:lnTo>
                  <a:lnTo>
                    <a:pt x="3397" y="2265"/>
                  </a:lnTo>
                  <a:lnTo>
                    <a:pt x="3303" y="2359"/>
                  </a:lnTo>
                  <a:lnTo>
                    <a:pt x="3303" y="2548"/>
                  </a:lnTo>
                  <a:lnTo>
                    <a:pt x="3491" y="2548"/>
                  </a:lnTo>
                  <a:lnTo>
                    <a:pt x="3586" y="2454"/>
                  </a:lnTo>
                  <a:lnTo>
                    <a:pt x="3680" y="2265"/>
                  </a:lnTo>
                  <a:lnTo>
                    <a:pt x="4152" y="2265"/>
                  </a:lnTo>
                  <a:lnTo>
                    <a:pt x="4152" y="2359"/>
                  </a:lnTo>
                  <a:lnTo>
                    <a:pt x="4246" y="2171"/>
                  </a:lnTo>
                  <a:lnTo>
                    <a:pt x="4340" y="2171"/>
                  </a:lnTo>
                  <a:lnTo>
                    <a:pt x="4246" y="2265"/>
                  </a:lnTo>
                  <a:lnTo>
                    <a:pt x="5284" y="2265"/>
                  </a:lnTo>
                  <a:lnTo>
                    <a:pt x="5567" y="2171"/>
                  </a:lnTo>
                  <a:lnTo>
                    <a:pt x="5755" y="2171"/>
                  </a:lnTo>
                  <a:lnTo>
                    <a:pt x="5755" y="2076"/>
                  </a:lnTo>
                  <a:lnTo>
                    <a:pt x="6416" y="2076"/>
                  </a:lnTo>
                  <a:lnTo>
                    <a:pt x="6510" y="1888"/>
                  </a:lnTo>
                  <a:lnTo>
                    <a:pt x="6604" y="1888"/>
                  </a:lnTo>
                  <a:lnTo>
                    <a:pt x="7170" y="1982"/>
                  </a:lnTo>
                  <a:lnTo>
                    <a:pt x="7453" y="1888"/>
                  </a:lnTo>
                  <a:lnTo>
                    <a:pt x="7548" y="1888"/>
                  </a:lnTo>
                  <a:lnTo>
                    <a:pt x="7642" y="1699"/>
                  </a:lnTo>
                  <a:lnTo>
                    <a:pt x="7736" y="1888"/>
                  </a:lnTo>
                  <a:lnTo>
                    <a:pt x="7925" y="2076"/>
                  </a:lnTo>
                  <a:lnTo>
                    <a:pt x="8114" y="1793"/>
                  </a:lnTo>
                  <a:lnTo>
                    <a:pt x="8114" y="1982"/>
                  </a:lnTo>
                  <a:lnTo>
                    <a:pt x="8208" y="1793"/>
                  </a:lnTo>
                  <a:lnTo>
                    <a:pt x="8302" y="1982"/>
                  </a:lnTo>
                  <a:lnTo>
                    <a:pt x="8302" y="1888"/>
                  </a:lnTo>
                  <a:lnTo>
                    <a:pt x="8302" y="1793"/>
                  </a:lnTo>
                  <a:lnTo>
                    <a:pt x="8491" y="1793"/>
                  </a:lnTo>
                  <a:lnTo>
                    <a:pt x="8585" y="1888"/>
                  </a:lnTo>
                  <a:lnTo>
                    <a:pt x="8774" y="1793"/>
                  </a:lnTo>
                  <a:lnTo>
                    <a:pt x="8774" y="1982"/>
                  </a:lnTo>
                  <a:lnTo>
                    <a:pt x="8869" y="1888"/>
                  </a:lnTo>
                  <a:lnTo>
                    <a:pt x="9718" y="1888"/>
                  </a:lnTo>
                  <a:lnTo>
                    <a:pt x="9623" y="1793"/>
                  </a:lnTo>
                  <a:lnTo>
                    <a:pt x="9718" y="1605"/>
                  </a:lnTo>
                  <a:lnTo>
                    <a:pt x="9812" y="1699"/>
                  </a:lnTo>
                  <a:lnTo>
                    <a:pt x="9812" y="1793"/>
                  </a:lnTo>
                  <a:lnTo>
                    <a:pt x="9906" y="1888"/>
                  </a:lnTo>
                  <a:lnTo>
                    <a:pt x="10095" y="1982"/>
                  </a:lnTo>
                  <a:lnTo>
                    <a:pt x="10661" y="1793"/>
                  </a:lnTo>
                  <a:lnTo>
                    <a:pt x="11038" y="1510"/>
                  </a:lnTo>
                  <a:lnTo>
                    <a:pt x="11133" y="1699"/>
                  </a:lnTo>
                  <a:lnTo>
                    <a:pt x="11321" y="1699"/>
                  </a:lnTo>
                  <a:lnTo>
                    <a:pt x="11510" y="1605"/>
                  </a:lnTo>
                  <a:lnTo>
                    <a:pt x="11604" y="1416"/>
                  </a:lnTo>
                  <a:lnTo>
                    <a:pt x="11982" y="1605"/>
                  </a:lnTo>
                  <a:lnTo>
                    <a:pt x="12453" y="1699"/>
                  </a:lnTo>
                  <a:lnTo>
                    <a:pt x="12642" y="1510"/>
                  </a:lnTo>
                  <a:lnTo>
                    <a:pt x="12642" y="1699"/>
                  </a:lnTo>
                  <a:lnTo>
                    <a:pt x="12925" y="1510"/>
                  </a:lnTo>
                  <a:lnTo>
                    <a:pt x="13208" y="1510"/>
                  </a:lnTo>
                  <a:lnTo>
                    <a:pt x="14057" y="1699"/>
                  </a:lnTo>
                  <a:lnTo>
                    <a:pt x="14434" y="1793"/>
                  </a:lnTo>
                  <a:lnTo>
                    <a:pt x="14812" y="1793"/>
                  </a:lnTo>
                  <a:lnTo>
                    <a:pt x="15095" y="1699"/>
                  </a:lnTo>
                  <a:lnTo>
                    <a:pt x="15378" y="1510"/>
                  </a:lnTo>
                  <a:lnTo>
                    <a:pt x="15472" y="1416"/>
                  </a:lnTo>
                  <a:lnTo>
                    <a:pt x="15472" y="1510"/>
                  </a:lnTo>
                  <a:lnTo>
                    <a:pt x="15472" y="1699"/>
                  </a:lnTo>
                  <a:lnTo>
                    <a:pt x="16416" y="1510"/>
                  </a:lnTo>
                  <a:lnTo>
                    <a:pt x="16416" y="1605"/>
                  </a:lnTo>
                  <a:lnTo>
                    <a:pt x="16510" y="1605"/>
                  </a:lnTo>
                  <a:lnTo>
                    <a:pt x="16604" y="1510"/>
                  </a:lnTo>
                  <a:lnTo>
                    <a:pt x="17642" y="1510"/>
                  </a:lnTo>
                  <a:lnTo>
                    <a:pt x="17736" y="1605"/>
                  </a:lnTo>
                  <a:lnTo>
                    <a:pt x="17831" y="1605"/>
                  </a:lnTo>
                  <a:lnTo>
                    <a:pt x="18397" y="1510"/>
                  </a:lnTo>
                  <a:lnTo>
                    <a:pt x="19057" y="1322"/>
                  </a:lnTo>
                  <a:lnTo>
                    <a:pt x="18774" y="1605"/>
                  </a:lnTo>
                  <a:lnTo>
                    <a:pt x="19151" y="1322"/>
                  </a:lnTo>
                  <a:lnTo>
                    <a:pt x="19340" y="1322"/>
                  </a:lnTo>
                  <a:lnTo>
                    <a:pt x="19340" y="1510"/>
                  </a:lnTo>
                  <a:lnTo>
                    <a:pt x="19529" y="1416"/>
                  </a:lnTo>
                  <a:lnTo>
                    <a:pt x="19906" y="1416"/>
                  </a:lnTo>
                  <a:lnTo>
                    <a:pt x="20000" y="1322"/>
                  </a:lnTo>
                  <a:lnTo>
                    <a:pt x="20095" y="944"/>
                  </a:lnTo>
                  <a:lnTo>
                    <a:pt x="20095" y="1133"/>
                  </a:lnTo>
                  <a:lnTo>
                    <a:pt x="20189" y="1227"/>
                  </a:lnTo>
                  <a:lnTo>
                    <a:pt x="20189" y="1416"/>
                  </a:lnTo>
                  <a:lnTo>
                    <a:pt x="20283" y="1322"/>
                  </a:lnTo>
                  <a:lnTo>
                    <a:pt x="20378" y="1322"/>
                  </a:lnTo>
                  <a:lnTo>
                    <a:pt x="20378" y="1416"/>
                  </a:lnTo>
                  <a:lnTo>
                    <a:pt x="20661" y="1227"/>
                  </a:lnTo>
                  <a:lnTo>
                    <a:pt x="20944" y="1133"/>
                  </a:lnTo>
                  <a:lnTo>
                    <a:pt x="21038" y="1133"/>
                  </a:lnTo>
                  <a:lnTo>
                    <a:pt x="21132" y="1416"/>
                  </a:lnTo>
                  <a:lnTo>
                    <a:pt x="21604" y="1227"/>
                  </a:lnTo>
                  <a:lnTo>
                    <a:pt x="21510" y="1039"/>
                  </a:lnTo>
                  <a:lnTo>
                    <a:pt x="21510" y="944"/>
                  </a:lnTo>
                  <a:lnTo>
                    <a:pt x="21698" y="944"/>
                  </a:lnTo>
                  <a:lnTo>
                    <a:pt x="21604" y="1039"/>
                  </a:lnTo>
                  <a:lnTo>
                    <a:pt x="21982" y="1039"/>
                  </a:lnTo>
                  <a:lnTo>
                    <a:pt x="21887" y="1227"/>
                  </a:lnTo>
                  <a:lnTo>
                    <a:pt x="21887" y="1227"/>
                  </a:lnTo>
                  <a:lnTo>
                    <a:pt x="22170" y="1039"/>
                  </a:lnTo>
                  <a:lnTo>
                    <a:pt x="22265" y="1227"/>
                  </a:lnTo>
                  <a:lnTo>
                    <a:pt x="22265" y="1133"/>
                  </a:lnTo>
                  <a:lnTo>
                    <a:pt x="22265" y="1039"/>
                  </a:lnTo>
                  <a:lnTo>
                    <a:pt x="22548" y="1039"/>
                  </a:lnTo>
                  <a:lnTo>
                    <a:pt x="22642" y="1322"/>
                  </a:lnTo>
                  <a:lnTo>
                    <a:pt x="23019" y="1227"/>
                  </a:lnTo>
                  <a:lnTo>
                    <a:pt x="23208" y="1133"/>
                  </a:lnTo>
                  <a:lnTo>
                    <a:pt x="23302" y="1039"/>
                  </a:lnTo>
                  <a:lnTo>
                    <a:pt x="23397" y="1133"/>
                  </a:lnTo>
                  <a:lnTo>
                    <a:pt x="23397" y="1227"/>
                  </a:lnTo>
                  <a:lnTo>
                    <a:pt x="23680" y="1227"/>
                  </a:lnTo>
                  <a:lnTo>
                    <a:pt x="23868" y="1133"/>
                  </a:lnTo>
                  <a:lnTo>
                    <a:pt x="24057" y="1227"/>
                  </a:lnTo>
                  <a:lnTo>
                    <a:pt x="24246" y="1227"/>
                  </a:lnTo>
                  <a:lnTo>
                    <a:pt x="24246" y="1133"/>
                  </a:lnTo>
                  <a:lnTo>
                    <a:pt x="24529" y="1227"/>
                  </a:lnTo>
                  <a:lnTo>
                    <a:pt x="24906" y="1322"/>
                  </a:lnTo>
                  <a:lnTo>
                    <a:pt x="25179" y="1048"/>
                  </a:lnTo>
                  <a:lnTo>
                    <a:pt x="25095" y="1133"/>
                  </a:lnTo>
                  <a:lnTo>
                    <a:pt x="25189" y="1227"/>
                  </a:lnTo>
                  <a:lnTo>
                    <a:pt x="25189" y="1133"/>
                  </a:lnTo>
                  <a:lnTo>
                    <a:pt x="25283" y="1039"/>
                  </a:lnTo>
                  <a:lnTo>
                    <a:pt x="25378" y="944"/>
                  </a:lnTo>
                  <a:lnTo>
                    <a:pt x="25472" y="944"/>
                  </a:lnTo>
                  <a:lnTo>
                    <a:pt x="25472" y="1133"/>
                  </a:lnTo>
                  <a:lnTo>
                    <a:pt x="25566" y="1039"/>
                  </a:lnTo>
                  <a:lnTo>
                    <a:pt x="25661" y="1039"/>
                  </a:lnTo>
                  <a:lnTo>
                    <a:pt x="25566" y="1133"/>
                  </a:lnTo>
                  <a:lnTo>
                    <a:pt x="25661" y="1227"/>
                  </a:lnTo>
                  <a:lnTo>
                    <a:pt x="25849" y="1322"/>
                  </a:lnTo>
                  <a:lnTo>
                    <a:pt x="25944" y="1133"/>
                  </a:lnTo>
                  <a:lnTo>
                    <a:pt x="26132" y="1039"/>
                  </a:lnTo>
                  <a:lnTo>
                    <a:pt x="26132" y="1039"/>
                  </a:lnTo>
                  <a:lnTo>
                    <a:pt x="26038" y="1227"/>
                  </a:lnTo>
                  <a:lnTo>
                    <a:pt x="26132" y="1322"/>
                  </a:lnTo>
                  <a:lnTo>
                    <a:pt x="26321" y="1416"/>
                  </a:lnTo>
                  <a:lnTo>
                    <a:pt x="26415" y="1416"/>
                  </a:lnTo>
                  <a:lnTo>
                    <a:pt x="26887" y="1227"/>
                  </a:lnTo>
                  <a:lnTo>
                    <a:pt x="27264" y="944"/>
                  </a:lnTo>
                  <a:lnTo>
                    <a:pt x="27170" y="944"/>
                  </a:lnTo>
                  <a:lnTo>
                    <a:pt x="27264" y="850"/>
                  </a:lnTo>
                  <a:lnTo>
                    <a:pt x="26981" y="756"/>
                  </a:lnTo>
                  <a:lnTo>
                    <a:pt x="26887" y="944"/>
                  </a:lnTo>
                  <a:lnTo>
                    <a:pt x="26793" y="1133"/>
                  </a:lnTo>
                  <a:lnTo>
                    <a:pt x="26793" y="661"/>
                  </a:lnTo>
                  <a:lnTo>
                    <a:pt x="26604" y="944"/>
                  </a:lnTo>
                  <a:lnTo>
                    <a:pt x="26510" y="850"/>
                  </a:lnTo>
                  <a:lnTo>
                    <a:pt x="26415" y="756"/>
                  </a:lnTo>
                  <a:lnTo>
                    <a:pt x="26321" y="944"/>
                  </a:lnTo>
                  <a:lnTo>
                    <a:pt x="26227" y="661"/>
                  </a:lnTo>
                  <a:lnTo>
                    <a:pt x="26038" y="756"/>
                  </a:lnTo>
                  <a:lnTo>
                    <a:pt x="25849" y="661"/>
                  </a:lnTo>
                  <a:lnTo>
                    <a:pt x="25378" y="567"/>
                  </a:lnTo>
                  <a:lnTo>
                    <a:pt x="25283" y="661"/>
                  </a:lnTo>
                  <a:lnTo>
                    <a:pt x="25095" y="756"/>
                  </a:lnTo>
                  <a:lnTo>
                    <a:pt x="25189" y="473"/>
                  </a:lnTo>
                  <a:lnTo>
                    <a:pt x="25000" y="661"/>
                  </a:lnTo>
                  <a:lnTo>
                    <a:pt x="25000" y="661"/>
                  </a:lnTo>
                  <a:lnTo>
                    <a:pt x="25095" y="473"/>
                  </a:lnTo>
                  <a:lnTo>
                    <a:pt x="24906" y="567"/>
                  </a:lnTo>
                  <a:lnTo>
                    <a:pt x="24717" y="567"/>
                  </a:lnTo>
                  <a:lnTo>
                    <a:pt x="24717" y="756"/>
                  </a:lnTo>
                  <a:lnTo>
                    <a:pt x="24623" y="1039"/>
                  </a:lnTo>
                  <a:lnTo>
                    <a:pt x="24623" y="850"/>
                  </a:lnTo>
                  <a:lnTo>
                    <a:pt x="24717" y="661"/>
                  </a:lnTo>
                  <a:lnTo>
                    <a:pt x="24623" y="756"/>
                  </a:lnTo>
                  <a:lnTo>
                    <a:pt x="24623" y="661"/>
                  </a:lnTo>
                  <a:lnTo>
                    <a:pt x="24529" y="473"/>
                  </a:lnTo>
                  <a:lnTo>
                    <a:pt x="24529" y="661"/>
                  </a:lnTo>
                  <a:lnTo>
                    <a:pt x="24434" y="567"/>
                  </a:lnTo>
                  <a:lnTo>
                    <a:pt x="24340" y="378"/>
                  </a:lnTo>
                  <a:lnTo>
                    <a:pt x="24246" y="567"/>
                  </a:lnTo>
                  <a:lnTo>
                    <a:pt x="23963" y="567"/>
                  </a:lnTo>
                  <a:lnTo>
                    <a:pt x="23397" y="661"/>
                  </a:lnTo>
                  <a:lnTo>
                    <a:pt x="23114" y="661"/>
                  </a:lnTo>
                  <a:lnTo>
                    <a:pt x="22925" y="567"/>
                  </a:lnTo>
                  <a:lnTo>
                    <a:pt x="22925" y="473"/>
                  </a:lnTo>
                  <a:lnTo>
                    <a:pt x="23019" y="473"/>
                  </a:lnTo>
                  <a:lnTo>
                    <a:pt x="22642" y="378"/>
                  </a:lnTo>
                  <a:lnTo>
                    <a:pt x="22736" y="473"/>
                  </a:lnTo>
                  <a:lnTo>
                    <a:pt x="22548" y="473"/>
                  </a:lnTo>
                  <a:lnTo>
                    <a:pt x="22642" y="284"/>
                  </a:lnTo>
                  <a:lnTo>
                    <a:pt x="22548" y="190"/>
                  </a:lnTo>
                  <a:lnTo>
                    <a:pt x="22453" y="190"/>
                  </a:lnTo>
                  <a:lnTo>
                    <a:pt x="22359" y="284"/>
                  </a:lnTo>
                  <a:lnTo>
                    <a:pt x="22170" y="378"/>
                  </a:lnTo>
                  <a:lnTo>
                    <a:pt x="22076" y="284"/>
                  </a:lnTo>
                  <a:lnTo>
                    <a:pt x="22170" y="473"/>
                  </a:lnTo>
                  <a:lnTo>
                    <a:pt x="21887" y="190"/>
                  </a:lnTo>
                  <a:lnTo>
                    <a:pt x="21793" y="190"/>
                  </a:lnTo>
                  <a:lnTo>
                    <a:pt x="21698" y="378"/>
                  </a:lnTo>
                  <a:lnTo>
                    <a:pt x="21604" y="756"/>
                  </a:lnTo>
                  <a:lnTo>
                    <a:pt x="21415" y="661"/>
                  </a:lnTo>
                  <a:lnTo>
                    <a:pt x="21510" y="473"/>
                  </a:lnTo>
                  <a:lnTo>
                    <a:pt x="21604" y="284"/>
                  </a:lnTo>
                  <a:lnTo>
                    <a:pt x="21415" y="284"/>
                  </a:lnTo>
                  <a:lnTo>
                    <a:pt x="21415" y="190"/>
                  </a:lnTo>
                  <a:lnTo>
                    <a:pt x="21227" y="378"/>
                  </a:lnTo>
                  <a:lnTo>
                    <a:pt x="20944" y="567"/>
                  </a:lnTo>
                  <a:lnTo>
                    <a:pt x="20566" y="1"/>
                  </a:lnTo>
                  <a:lnTo>
                    <a:pt x="20472" y="95"/>
                  </a:lnTo>
                  <a:lnTo>
                    <a:pt x="20472" y="190"/>
                  </a:lnTo>
                  <a:lnTo>
                    <a:pt x="20472" y="378"/>
                  </a:lnTo>
                  <a:lnTo>
                    <a:pt x="20283" y="284"/>
                  </a:lnTo>
                  <a:lnTo>
                    <a:pt x="20283" y="190"/>
                  </a:lnTo>
                  <a:lnTo>
                    <a:pt x="20378" y="95"/>
                  </a:lnTo>
                  <a:lnTo>
                    <a:pt x="20283" y="1"/>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sp>
          <p:nvSpPr>
            <p:cNvPr id="15" name="Shape 100">
              <a:extLst>
                <a:ext uri="{FF2B5EF4-FFF2-40B4-BE49-F238E27FC236}">
                  <a16:creationId xmlns:a16="http://schemas.microsoft.com/office/drawing/2014/main" id="{4C631583-378C-6F15-19F5-F1A17A4FC5B1}"/>
                </a:ext>
              </a:extLst>
            </p:cNvPr>
            <p:cNvSpPr/>
            <p:nvPr/>
          </p:nvSpPr>
          <p:spPr>
            <a:xfrm>
              <a:off x="858375" y="812725"/>
              <a:ext cx="179275" cy="221725"/>
            </a:xfrm>
            <a:custGeom>
              <a:avLst/>
              <a:gdLst/>
              <a:ahLst/>
              <a:cxnLst/>
              <a:rect l="0" t="0" r="0" b="0"/>
              <a:pathLst>
                <a:path w="7171" h="8869" extrusionOk="0">
                  <a:moveTo>
                    <a:pt x="5756" y="6510"/>
                  </a:moveTo>
                  <a:lnTo>
                    <a:pt x="5756" y="6604"/>
                  </a:lnTo>
                  <a:lnTo>
                    <a:pt x="5850" y="6604"/>
                  </a:lnTo>
                  <a:lnTo>
                    <a:pt x="5756" y="6510"/>
                  </a:lnTo>
                  <a:close/>
                  <a:moveTo>
                    <a:pt x="2265" y="7925"/>
                  </a:moveTo>
                  <a:lnTo>
                    <a:pt x="2252" y="7965"/>
                  </a:lnTo>
                  <a:lnTo>
                    <a:pt x="2252" y="7965"/>
                  </a:lnTo>
                  <a:lnTo>
                    <a:pt x="2284" y="7953"/>
                  </a:lnTo>
                  <a:lnTo>
                    <a:pt x="2284" y="7953"/>
                  </a:lnTo>
                  <a:lnTo>
                    <a:pt x="2265" y="7925"/>
                  </a:lnTo>
                  <a:close/>
                  <a:moveTo>
                    <a:pt x="567" y="0"/>
                  </a:moveTo>
                  <a:lnTo>
                    <a:pt x="284" y="189"/>
                  </a:lnTo>
                  <a:lnTo>
                    <a:pt x="95" y="472"/>
                  </a:lnTo>
                  <a:lnTo>
                    <a:pt x="1" y="755"/>
                  </a:lnTo>
                  <a:lnTo>
                    <a:pt x="95" y="1038"/>
                  </a:lnTo>
                  <a:lnTo>
                    <a:pt x="190" y="1227"/>
                  </a:lnTo>
                  <a:lnTo>
                    <a:pt x="473" y="1415"/>
                  </a:lnTo>
                  <a:lnTo>
                    <a:pt x="850" y="1321"/>
                  </a:lnTo>
                  <a:lnTo>
                    <a:pt x="661" y="1604"/>
                  </a:lnTo>
                  <a:lnTo>
                    <a:pt x="756" y="1604"/>
                  </a:lnTo>
                  <a:lnTo>
                    <a:pt x="661" y="1793"/>
                  </a:lnTo>
                  <a:lnTo>
                    <a:pt x="661" y="1887"/>
                  </a:lnTo>
                  <a:lnTo>
                    <a:pt x="756" y="1793"/>
                  </a:lnTo>
                  <a:lnTo>
                    <a:pt x="1510" y="1604"/>
                  </a:lnTo>
                  <a:lnTo>
                    <a:pt x="1510" y="1604"/>
                  </a:lnTo>
                  <a:lnTo>
                    <a:pt x="1133" y="2076"/>
                  </a:lnTo>
                  <a:lnTo>
                    <a:pt x="1322" y="2453"/>
                  </a:lnTo>
                  <a:lnTo>
                    <a:pt x="1888" y="2830"/>
                  </a:lnTo>
                  <a:lnTo>
                    <a:pt x="3397" y="3774"/>
                  </a:lnTo>
                  <a:lnTo>
                    <a:pt x="5001" y="4623"/>
                  </a:lnTo>
                  <a:lnTo>
                    <a:pt x="5944" y="5095"/>
                  </a:lnTo>
                  <a:lnTo>
                    <a:pt x="5756" y="5189"/>
                  </a:lnTo>
                  <a:lnTo>
                    <a:pt x="5378" y="5378"/>
                  </a:lnTo>
                  <a:lnTo>
                    <a:pt x="5378" y="5283"/>
                  </a:lnTo>
                  <a:lnTo>
                    <a:pt x="5001" y="5661"/>
                  </a:lnTo>
                  <a:lnTo>
                    <a:pt x="4623" y="5944"/>
                  </a:lnTo>
                  <a:lnTo>
                    <a:pt x="4435" y="6321"/>
                  </a:lnTo>
                  <a:lnTo>
                    <a:pt x="4340" y="6510"/>
                  </a:lnTo>
                  <a:lnTo>
                    <a:pt x="4435" y="6698"/>
                  </a:lnTo>
                  <a:lnTo>
                    <a:pt x="4435" y="6698"/>
                  </a:lnTo>
                  <a:lnTo>
                    <a:pt x="4246" y="6415"/>
                  </a:lnTo>
                  <a:lnTo>
                    <a:pt x="4057" y="6321"/>
                  </a:lnTo>
                  <a:lnTo>
                    <a:pt x="3963" y="6415"/>
                  </a:lnTo>
                  <a:lnTo>
                    <a:pt x="3869" y="6510"/>
                  </a:lnTo>
                  <a:lnTo>
                    <a:pt x="3680" y="6887"/>
                  </a:lnTo>
                  <a:lnTo>
                    <a:pt x="3680" y="7076"/>
                  </a:lnTo>
                  <a:lnTo>
                    <a:pt x="3774" y="7076"/>
                  </a:lnTo>
                  <a:lnTo>
                    <a:pt x="3680" y="7264"/>
                  </a:lnTo>
                  <a:lnTo>
                    <a:pt x="3303" y="7453"/>
                  </a:lnTo>
                  <a:lnTo>
                    <a:pt x="2359" y="7925"/>
                  </a:lnTo>
                  <a:lnTo>
                    <a:pt x="2284" y="7953"/>
                  </a:lnTo>
                  <a:lnTo>
                    <a:pt x="2284" y="7953"/>
                  </a:lnTo>
                  <a:lnTo>
                    <a:pt x="2454" y="8208"/>
                  </a:lnTo>
                  <a:lnTo>
                    <a:pt x="2642" y="8396"/>
                  </a:lnTo>
                  <a:lnTo>
                    <a:pt x="2642" y="8302"/>
                  </a:lnTo>
                  <a:lnTo>
                    <a:pt x="2737" y="8396"/>
                  </a:lnTo>
                  <a:lnTo>
                    <a:pt x="2831" y="8113"/>
                  </a:lnTo>
                  <a:lnTo>
                    <a:pt x="2925" y="7925"/>
                  </a:lnTo>
                  <a:lnTo>
                    <a:pt x="3020" y="7830"/>
                  </a:lnTo>
                  <a:lnTo>
                    <a:pt x="3397" y="7830"/>
                  </a:lnTo>
                  <a:lnTo>
                    <a:pt x="3680" y="7736"/>
                  </a:lnTo>
                  <a:lnTo>
                    <a:pt x="3774" y="7547"/>
                  </a:lnTo>
                  <a:lnTo>
                    <a:pt x="3869" y="7264"/>
                  </a:lnTo>
                  <a:lnTo>
                    <a:pt x="4246" y="7453"/>
                  </a:lnTo>
                  <a:lnTo>
                    <a:pt x="4623" y="7642"/>
                  </a:lnTo>
                  <a:lnTo>
                    <a:pt x="4718" y="7547"/>
                  </a:lnTo>
                  <a:lnTo>
                    <a:pt x="4906" y="7359"/>
                  </a:lnTo>
                  <a:lnTo>
                    <a:pt x="5190" y="7170"/>
                  </a:lnTo>
                  <a:lnTo>
                    <a:pt x="5095" y="7076"/>
                  </a:lnTo>
                  <a:lnTo>
                    <a:pt x="4906" y="6793"/>
                  </a:lnTo>
                  <a:lnTo>
                    <a:pt x="4906" y="6793"/>
                  </a:lnTo>
                  <a:lnTo>
                    <a:pt x="5095" y="6887"/>
                  </a:lnTo>
                  <a:lnTo>
                    <a:pt x="5378" y="6793"/>
                  </a:lnTo>
                  <a:lnTo>
                    <a:pt x="5756" y="6510"/>
                  </a:lnTo>
                  <a:lnTo>
                    <a:pt x="6322" y="6132"/>
                  </a:lnTo>
                  <a:lnTo>
                    <a:pt x="6699" y="5566"/>
                  </a:lnTo>
                  <a:lnTo>
                    <a:pt x="7171" y="5095"/>
                  </a:lnTo>
                  <a:lnTo>
                    <a:pt x="7076" y="4717"/>
                  </a:lnTo>
                  <a:lnTo>
                    <a:pt x="6982" y="4434"/>
                  </a:lnTo>
                  <a:lnTo>
                    <a:pt x="6605" y="3963"/>
                  </a:lnTo>
                  <a:lnTo>
                    <a:pt x="6133" y="3491"/>
                  </a:lnTo>
                  <a:lnTo>
                    <a:pt x="5567" y="3113"/>
                  </a:lnTo>
                  <a:lnTo>
                    <a:pt x="4340" y="2547"/>
                  </a:lnTo>
                  <a:lnTo>
                    <a:pt x="3208" y="1887"/>
                  </a:lnTo>
                  <a:lnTo>
                    <a:pt x="2925" y="1698"/>
                  </a:lnTo>
                  <a:lnTo>
                    <a:pt x="2925" y="1604"/>
                  </a:lnTo>
                  <a:lnTo>
                    <a:pt x="2925" y="1510"/>
                  </a:lnTo>
                  <a:lnTo>
                    <a:pt x="2737" y="1698"/>
                  </a:lnTo>
                  <a:lnTo>
                    <a:pt x="2642" y="1698"/>
                  </a:lnTo>
                  <a:lnTo>
                    <a:pt x="2642" y="1604"/>
                  </a:lnTo>
                  <a:lnTo>
                    <a:pt x="2642" y="1510"/>
                  </a:lnTo>
                  <a:lnTo>
                    <a:pt x="2642" y="1415"/>
                  </a:lnTo>
                  <a:lnTo>
                    <a:pt x="2454" y="1604"/>
                  </a:lnTo>
                  <a:lnTo>
                    <a:pt x="2454" y="1698"/>
                  </a:lnTo>
                  <a:lnTo>
                    <a:pt x="2265" y="1887"/>
                  </a:lnTo>
                  <a:lnTo>
                    <a:pt x="2265" y="1604"/>
                  </a:lnTo>
                  <a:lnTo>
                    <a:pt x="2171" y="1415"/>
                  </a:lnTo>
                  <a:lnTo>
                    <a:pt x="1605" y="944"/>
                  </a:lnTo>
                  <a:lnTo>
                    <a:pt x="1227" y="755"/>
                  </a:lnTo>
                  <a:lnTo>
                    <a:pt x="1039" y="472"/>
                  </a:lnTo>
                  <a:lnTo>
                    <a:pt x="850" y="283"/>
                  </a:lnTo>
                  <a:lnTo>
                    <a:pt x="944" y="0"/>
                  </a:lnTo>
                  <a:close/>
                  <a:moveTo>
                    <a:pt x="2252" y="7965"/>
                  </a:moveTo>
                  <a:lnTo>
                    <a:pt x="850" y="8491"/>
                  </a:lnTo>
                  <a:lnTo>
                    <a:pt x="756" y="8491"/>
                  </a:lnTo>
                  <a:lnTo>
                    <a:pt x="756" y="8774"/>
                  </a:lnTo>
                  <a:lnTo>
                    <a:pt x="944" y="8868"/>
                  </a:lnTo>
                  <a:lnTo>
                    <a:pt x="1133" y="8868"/>
                  </a:lnTo>
                  <a:lnTo>
                    <a:pt x="1605" y="8774"/>
                  </a:lnTo>
                  <a:lnTo>
                    <a:pt x="1793" y="8679"/>
                  </a:lnTo>
                  <a:lnTo>
                    <a:pt x="2076" y="8491"/>
                  </a:lnTo>
                  <a:lnTo>
                    <a:pt x="2171" y="8208"/>
                  </a:lnTo>
                  <a:lnTo>
                    <a:pt x="2252" y="7965"/>
                  </a:lnTo>
                  <a:close/>
                </a:path>
              </a:pathLst>
            </a:custGeom>
            <a:grpFill/>
            <a:ln>
              <a:noFill/>
            </a:ln>
          </p:spPr>
          <p:txBody>
            <a:bodyPr spcFirstLastPara="1" wrap="square" lIns="91425" tIns="91425" rIns="91425" bIns="91425" anchor="ctr" anchorCtr="0">
              <a:noAutofit/>
            </a:bodyPr>
            <a:lstStyle/>
            <a:p>
              <a:pPr marL="0" marR="0" lvl="0" indent="0" algn="l" defTabSz="1239759" eaLnBrk="1" fontAlgn="base" latinLnBrk="0" hangingPunct="1">
                <a:lnSpc>
                  <a:spcPct val="100000"/>
                </a:lnSpc>
                <a:spcBef>
                  <a:spcPts val="0"/>
                </a:spcBef>
                <a:spcAft>
                  <a:spcPts val="0"/>
                </a:spcAft>
                <a:buClrTx/>
                <a:buSzTx/>
                <a:buFont typeface="Arial" panose="020B0604020202020204" pitchFamily="34" charset="0"/>
                <a:buNone/>
                <a:tabLst/>
                <a:defRPr/>
              </a:pPr>
              <a:endParaRPr kumimoji="0" lang="da-DK" sz="1800" b="0" i="0" u="none" strike="noStrike" kern="1200" cap="none" spc="-136" normalizeH="0" baseline="0" noProof="0">
                <a:ln>
                  <a:noFill/>
                </a:ln>
                <a:solidFill>
                  <a:srgbClr val="333333"/>
                </a:solidFill>
                <a:effectLst/>
                <a:uLnTx/>
                <a:uFillTx/>
                <a:latin typeface="Verdana"/>
                <a:ea typeface="Verdana" pitchFamily="34" charset="0"/>
              </a:endParaRPr>
            </a:p>
          </p:txBody>
        </p:sp>
      </p:grpSp>
      <p:grpSp>
        <p:nvGrpSpPr>
          <p:cNvPr id="16" name="Group 15">
            <a:extLst>
              <a:ext uri="{FF2B5EF4-FFF2-40B4-BE49-F238E27FC236}">
                <a16:creationId xmlns:a16="http://schemas.microsoft.com/office/drawing/2014/main" id="{086E773C-8CE0-B5A7-8DBF-2EA56DCF7662}"/>
              </a:ext>
            </a:extLst>
          </p:cNvPr>
          <p:cNvGrpSpPr/>
          <p:nvPr/>
        </p:nvGrpSpPr>
        <p:grpSpPr>
          <a:xfrm>
            <a:off x="8841216" y="1474227"/>
            <a:ext cx="616927" cy="618408"/>
            <a:chOff x="8814517" y="1435625"/>
            <a:chExt cx="616927" cy="618408"/>
          </a:xfrm>
        </p:grpSpPr>
        <p:sp>
          <p:nvSpPr>
            <p:cNvPr id="17" name="Oval 16">
              <a:extLst>
                <a:ext uri="{FF2B5EF4-FFF2-40B4-BE49-F238E27FC236}">
                  <a16:creationId xmlns:a16="http://schemas.microsoft.com/office/drawing/2014/main" id="{07196382-B31B-7902-F5E0-B01F23F3B0AD}"/>
                </a:ext>
              </a:extLst>
            </p:cNvPr>
            <p:cNvSpPr/>
            <p:nvPr/>
          </p:nvSpPr>
          <p:spPr>
            <a:xfrm>
              <a:off x="8814517" y="1435625"/>
              <a:ext cx="616927" cy="61840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8" name="Graphic 17" descr="Bullseye outline">
              <a:extLst>
                <a:ext uri="{FF2B5EF4-FFF2-40B4-BE49-F238E27FC236}">
                  <a16:creationId xmlns:a16="http://schemas.microsoft.com/office/drawing/2014/main" id="{4274C11B-0B88-A426-D53B-6A5E8BDC767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85298" y="1514124"/>
              <a:ext cx="475364" cy="475364"/>
            </a:xfrm>
            <a:prstGeom prst="rect">
              <a:avLst/>
            </a:prstGeom>
          </p:spPr>
        </p:pic>
      </p:grpSp>
      <p:grpSp>
        <p:nvGrpSpPr>
          <p:cNvPr id="19" name="Group 18">
            <a:extLst>
              <a:ext uri="{FF2B5EF4-FFF2-40B4-BE49-F238E27FC236}">
                <a16:creationId xmlns:a16="http://schemas.microsoft.com/office/drawing/2014/main" id="{160149C7-E7CA-459F-EF60-4404A17C0E4C}"/>
              </a:ext>
            </a:extLst>
          </p:cNvPr>
          <p:cNvGrpSpPr/>
          <p:nvPr/>
        </p:nvGrpSpPr>
        <p:grpSpPr>
          <a:xfrm>
            <a:off x="2743606" y="1467451"/>
            <a:ext cx="616927" cy="625184"/>
            <a:chOff x="2792332" y="1558205"/>
            <a:chExt cx="616927" cy="625184"/>
          </a:xfrm>
        </p:grpSpPr>
        <p:sp>
          <p:nvSpPr>
            <p:cNvPr id="20" name="Oval 19">
              <a:extLst>
                <a:ext uri="{FF2B5EF4-FFF2-40B4-BE49-F238E27FC236}">
                  <a16:creationId xmlns:a16="http://schemas.microsoft.com/office/drawing/2014/main" id="{98ED4977-16DD-F03B-D976-E1C1ADC8C726}"/>
                </a:ext>
              </a:extLst>
            </p:cNvPr>
            <p:cNvSpPr/>
            <p:nvPr/>
          </p:nvSpPr>
          <p:spPr>
            <a:xfrm>
              <a:off x="2792332" y="1564981"/>
              <a:ext cx="616927" cy="61840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1" name="Graphic 20" descr="Dim (Smaller Sun) outline">
              <a:extLst>
                <a:ext uri="{FF2B5EF4-FFF2-40B4-BE49-F238E27FC236}">
                  <a16:creationId xmlns:a16="http://schemas.microsoft.com/office/drawing/2014/main" id="{64A5201D-4F35-4F83-3113-EC960797BC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92332" y="1558205"/>
              <a:ext cx="616927" cy="616927"/>
            </a:xfrm>
            <a:prstGeom prst="rect">
              <a:avLst/>
            </a:prstGeom>
          </p:spPr>
        </p:pic>
      </p:grpSp>
      <p:grpSp>
        <p:nvGrpSpPr>
          <p:cNvPr id="22" name="Group 21">
            <a:extLst>
              <a:ext uri="{FF2B5EF4-FFF2-40B4-BE49-F238E27FC236}">
                <a16:creationId xmlns:a16="http://schemas.microsoft.com/office/drawing/2014/main" id="{144B14E3-F54F-5D3A-682F-B91D8E93817E}"/>
              </a:ext>
            </a:extLst>
          </p:cNvPr>
          <p:cNvGrpSpPr/>
          <p:nvPr/>
        </p:nvGrpSpPr>
        <p:grpSpPr>
          <a:xfrm>
            <a:off x="5787536" y="1474227"/>
            <a:ext cx="616927" cy="618408"/>
            <a:chOff x="5768721" y="1600573"/>
            <a:chExt cx="616927" cy="618408"/>
          </a:xfrm>
        </p:grpSpPr>
        <p:sp>
          <p:nvSpPr>
            <p:cNvPr id="23" name="Oval 22">
              <a:extLst>
                <a:ext uri="{FF2B5EF4-FFF2-40B4-BE49-F238E27FC236}">
                  <a16:creationId xmlns:a16="http://schemas.microsoft.com/office/drawing/2014/main" id="{A18C150C-E75C-590E-C41C-6A8A4F5B3637}"/>
                </a:ext>
              </a:extLst>
            </p:cNvPr>
            <p:cNvSpPr/>
            <p:nvPr/>
          </p:nvSpPr>
          <p:spPr>
            <a:xfrm>
              <a:off x="5768721" y="1600573"/>
              <a:ext cx="616927" cy="61840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24" name="Graphic 23" descr="Blueprint outline">
              <a:extLst>
                <a:ext uri="{FF2B5EF4-FFF2-40B4-BE49-F238E27FC236}">
                  <a16:creationId xmlns:a16="http://schemas.microsoft.com/office/drawing/2014/main" id="{A993F86E-D9BB-2CA8-1EED-0660026163F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843267" y="1675860"/>
              <a:ext cx="467834" cy="467834"/>
            </a:xfrm>
            <a:prstGeom prst="rect">
              <a:avLst/>
            </a:prstGeom>
          </p:spPr>
        </p:pic>
      </p:grpSp>
    </p:spTree>
    <p:extLst>
      <p:ext uri="{BB962C8B-B14F-4D97-AF65-F5344CB8AC3E}">
        <p14:creationId xmlns:p14="http://schemas.microsoft.com/office/powerpoint/2010/main" val="18973860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16</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7"/>
            <a:ext cx="12192000" cy="856671"/>
          </a:xfrm>
          <a:prstGeom prst="rect">
            <a:avLst/>
          </a:prstGeom>
          <a:solidFill>
            <a:schemeClr val="accent5"/>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Børnesyn</a:t>
            </a:r>
          </a:p>
        </p:txBody>
      </p:sp>
      <p:sp>
        <p:nvSpPr>
          <p:cNvPr id="2" name="Google Shape;847;p29">
            <a:extLst>
              <a:ext uri="{FF2B5EF4-FFF2-40B4-BE49-F238E27FC236}">
                <a16:creationId xmlns:a16="http://schemas.microsoft.com/office/drawing/2014/main" id="{12FF808D-AA50-EC38-DDF4-A3A60971C11D}"/>
              </a:ext>
            </a:extLst>
          </p:cNvPr>
          <p:cNvSpPr txBox="1"/>
          <p:nvPr/>
        </p:nvSpPr>
        <p:spPr>
          <a:xfrm>
            <a:off x="905135" y="1426341"/>
            <a:ext cx="7235689" cy="4828066"/>
          </a:xfrm>
          <a:prstGeom prst="rect">
            <a:avLst/>
          </a:prstGeom>
          <a:noFill/>
          <a:ln>
            <a:noFill/>
          </a:ln>
        </p:spPr>
        <p:txBody>
          <a:bodyPr spcFirstLastPara="1" wrap="square" lIns="0" tIns="180000" rIns="0" bIns="0" anchor="t" anchorCtr="0">
            <a:noAutofit/>
          </a:bodyPr>
          <a:lstStyle/>
          <a:p>
            <a:r>
              <a:rPr lang="da-DK" sz="2200" b="1" dirty="0">
                <a:latin typeface="Amatic SC"/>
                <a:cs typeface="Amatic SC"/>
                <a:sym typeface="Quicksand"/>
              </a:rPr>
              <a:t>Forslag til proces: </a:t>
            </a:r>
          </a:p>
          <a:p>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Teamene får udleveret en printet version af </a:t>
            </a:r>
            <a:r>
              <a:rPr lang="da-DK" sz="1500" dirty="0">
                <a:latin typeface="Quicksand" panose="020B0604020202020204" charset="0"/>
                <a:ea typeface="Quicksand"/>
                <a:cs typeface="Quicksand" panose="020B0604020202020204" charset="0"/>
                <a:sym typeface="Quicksand"/>
                <a:hlinkClick r:id="" action="ppaction://noaction">
                  <a:extLst>
                    <a:ext uri="{A12FA001-AC4F-418D-AE19-62706E023703}">
                      <ahyp:hlinkClr xmlns:ahyp="http://schemas.microsoft.com/office/drawing/2018/hyperlinkcolor" val="tx"/>
                    </a:ext>
                  </a:extLst>
                </a:hlinkClick>
              </a:rPr>
              <a:t>ord, der karakteriserer skolens børnesyn</a:t>
            </a:r>
            <a:r>
              <a:rPr lang="da-DK" sz="1500" dirty="0">
                <a:latin typeface="Quicksand" panose="020B0604020202020204" charset="0"/>
                <a:ea typeface="Quicksand"/>
                <a:cs typeface="Quicksand" panose="020B0604020202020204" charset="0"/>
                <a:sym typeface="Quicksand"/>
              </a:rPr>
              <a:t> </a:t>
            </a:r>
            <a:br>
              <a:rPr lang="da-DK" sz="1500" dirty="0">
                <a:latin typeface="Quicksand" panose="020B0604020202020204" charset="0"/>
                <a:ea typeface="Quicksand"/>
                <a:cs typeface="Quicksand" panose="020B0604020202020204" charset="0"/>
                <a:sym typeface="Quicksand"/>
              </a:rPr>
            </a:br>
            <a:r>
              <a:rPr lang="da-DK" sz="1500" dirty="0">
                <a:latin typeface="Quicksand" panose="020B0604020202020204" charset="0"/>
                <a:ea typeface="Quicksand"/>
                <a:cs typeface="Quicksand" panose="020B0604020202020204" charset="0"/>
                <a:sym typeface="Quicksand"/>
              </a:rPr>
              <a:t>(se næste slide). Hvert teammedlem reflekterer over, hvilke ord de mener karakteriserer skolens børnesyn. Her sætter de ring om de ord, som særligt karakteriserer skolens børnesyn, og sætter kryds over de ord, som ikke stemmer overens med skolens børnesyn.</a:t>
            </a:r>
          </a:p>
          <a:p>
            <a:pPr marL="45720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På skift præsenterer teammedlemmerne kort, hvilke ord de hver især har fremhævet. Derefter drøfter teamet:</a:t>
            </a:r>
          </a:p>
          <a:p>
            <a:pPr marL="758825" lvl="1" indent="-130175">
              <a:spcAft>
                <a:spcPts val="600"/>
              </a:spcAft>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ordan kommer vores børnesyn til udtryk i vores praksis?</a:t>
            </a:r>
          </a:p>
          <a:p>
            <a:pPr marL="758825" lvl="1" indent="-130175">
              <a:buFont typeface="Arial" panose="020B0604020202020204" pitchFamily="34" charset="0"/>
              <a:buChar char="•"/>
            </a:pPr>
            <a:r>
              <a:rPr lang="da-DK" sz="1500" dirty="0">
                <a:latin typeface="Quicksand" panose="020B0604020202020204" charset="0"/>
                <a:ea typeface="Quicksand"/>
                <a:cs typeface="Quicksand" panose="020B0604020202020204" charset="0"/>
                <a:sym typeface="Quicksand"/>
              </a:rPr>
              <a:t>Hvad skal der til for at sikre stærkere sammenhæng mellem </a:t>
            </a:r>
            <a:br>
              <a:rPr lang="da-DK" sz="1500" dirty="0">
                <a:latin typeface="Quicksand" panose="020B0604020202020204" charset="0"/>
                <a:ea typeface="Quicksand"/>
                <a:cs typeface="Quicksand" panose="020B0604020202020204" charset="0"/>
                <a:sym typeface="Quicksand"/>
              </a:rPr>
            </a:br>
            <a:r>
              <a:rPr lang="da-DK" sz="1500" dirty="0">
                <a:latin typeface="Quicksand" panose="020B0604020202020204" charset="0"/>
                <a:ea typeface="Quicksand"/>
                <a:cs typeface="Quicksand" panose="020B0604020202020204" charset="0"/>
                <a:sym typeface="Quicksand"/>
              </a:rPr>
              <a:t>skolens børnesyn og praksis?</a:t>
            </a:r>
          </a:p>
          <a:p>
            <a:pPr marL="17145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Teamet aftaler næste skridt (hvem gør hvad og hvornår) i processen med at integrere børnesynet i arbejdet med Den Mangfoldige Folkeskole.</a:t>
            </a:r>
          </a:p>
        </p:txBody>
      </p:sp>
      <p:pic>
        <p:nvPicPr>
          <p:cNvPr id="3" name="Graphic 2" descr="Compass with solid fill">
            <a:extLst>
              <a:ext uri="{FF2B5EF4-FFF2-40B4-BE49-F238E27FC236}">
                <a16:creationId xmlns:a16="http://schemas.microsoft.com/office/drawing/2014/main" id="{C4B151BE-9929-3302-832C-7751EC99B09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81806" y="384308"/>
            <a:ext cx="783408" cy="783408"/>
          </a:xfrm>
          <a:prstGeom prst="rect">
            <a:avLst/>
          </a:prstGeom>
        </p:spPr>
      </p:pic>
      <p:sp>
        <p:nvSpPr>
          <p:cNvPr id="6" name="Oval 5">
            <a:extLst>
              <a:ext uri="{FF2B5EF4-FFF2-40B4-BE49-F238E27FC236}">
                <a16:creationId xmlns:a16="http://schemas.microsoft.com/office/drawing/2014/main" id="{D850FFB8-611F-F595-5E89-D21EA3E4A562}"/>
              </a:ext>
            </a:extLst>
          </p:cNvPr>
          <p:cNvSpPr/>
          <p:nvPr/>
        </p:nvSpPr>
        <p:spPr>
          <a:xfrm>
            <a:off x="904591" y="2189647"/>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7" name="Oval 6">
            <a:extLst>
              <a:ext uri="{FF2B5EF4-FFF2-40B4-BE49-F238E27FC236}">
                <a16:creationId xmlns:a16="http://schemas.microsoft.com/office/drawing/2014/main" id="{96BC81CA-E8A8-25B4-1C95-A7529B589A07}"/>
              </a:ext>
            </a:extLst>
          </p:cNvPr>
          <p:cNvSpPr/>
          <p:nvPr/>
        </p:nvSpPr>
        <p:spPr>
          <a:xfrm>
            <a:off x="904591" y="3509748"/>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p>
        </p:txBody>
      </p:sp>
      <p:sp>
        <p:nvSpPr>
          <p:cNvPr id="8" name="Oval 7">
            <a:extLst>
              <a:ext uri="{FF2B5EF4-FFF2-40B4-BE49-F238E27FC236}">
                <a16:creationId xmlns:a16="http://schemas.microsoft.com/office/drawing/2014/main" id="{8512E92E-F827-F1F0-ABE8-77E1612C8217}"/>
              </a:ext>
            </a:extLst>
          </p:cNvPr>
          <p:cNvSpPr/>
          <p:nvPr/>
        </p:nvSpPr>
        <p:spPr>
          <a:xfrm>
            <a:off x="904591" y="5002569"/>
            <a:ext cx="345600" cy="34544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a:latin typeface="Quicksand" panose="020B0604020202020204" charset="0"/>
                <a:cs typeface="Quicksand" panose="020B0604020202020204" charset="0"/>
              </a:rPr>
              <a:t>3</a:t>
            </a:r>
            <a:endParaRPr lang="da-DK" sz="1600" noProof="0">
              <a:latin typeface="Quicksand" panose="020B0604020202020204" charset="0"/>
              <a:cs typeface="Quicksand" panose="020B0604020202020204" charset="0"/>
            </a:endParaRPr>
          </a:p>
        </p:txBody>
      </p:sp>
      <p:sp>
        <p:nvSpPr>
          <p:cNvPr id="10" name="TextBox 9">
            <a:extLst>
              <a:ext uri="{FF2B5EF4-FFF2-40B4-BE49-F238E27FC236}">
                <a16:creationId xmlns:a16="http://schemas.microsoft.com/office/drawing/2014/main" id="{B9B5E756-3862-C58E-4881-08CAF0E4AE6E}"/>
              </a:ext>
            </a:extLst>
          </p:cNvPr>
          <p:cNvSpPr txBox="1"/>
          <p:nvPr/>
        </p:nvSpPr>
        <p:spPr>
          <a:xfrm>
            <a:off x="869722" y="5618636"/>
            <a:ext cx="7379130" cy="246221"/>
          </a:xfrm>
          <a:prstGeom prst="rect">
            <a:avLst/>
          </a:prstGeom>
          <a:noFill/>
        </p:spPr>
        <p:txBody>
          <a:bodyPr wrap="square" lIns="0" tIns="0" rIns="0" bIns="0" rtlCol="0">
            <a:spAutoFit/>
          </a:bodyPr>
          <a:lstStyle/>
          <a:p>
            <a:r>
              <a:rPr lang="da-DK" sz="800" dirty="0">
                <a:latin typeface="Quicksand" panose="020B0604020202020204"/>
              </a:rPr>
              <a:t>*I skolerapporten fremgår pædagogisk personales besvarelse af følgende spørgsmål relateret til det fælles børnesyn: ”På min skole er der en klar vision eller et fælles mål for arbejdet med at skabe deltagelsesmuligheder for alle elever” og ”På min skole har vi et fælles børnesyn”. </a:t>
            </a:r>
          </a:p>
        </p:txBody>
      </p:sp>
      <p:pic>
        <p:nvPicPr>
          <p:cNvPr id="14" name="Graphic 13">
            <a:extLst>
              <a:ext uri="{FF2B5EF4-FFF2-40B4-BE49-F238E27FC236}">
                <a16:creationId xmlns:a16="http://schemas.microsoft.com/office/drawing/2014/main" id="{CF1A5AC3-DED5-D098-88CD-1735CAB161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40824" y="1770370"/>
            <a:ext cx="3698360" cy="2607229"/>
          </a:xfrm>
          <a:prstGeom prst="rect">
            <a:avLst/>
          </a:prstGeom>
        </p:spPr>
      </p:pic>
      <p:sp>
        <p:nvSpPr>
          <p:cNvPr id="15" name="Rectangle 14">
            <a:extLst>
              <a:ext uri="{FF2B5EF4-FFF2-40B4-BE49-F238E27FC236}">
                <a16:creationId xmlns:a16="http://schemas.microsoft.com/office/drawing/2014/main" id="{739AC131-1BC6-D446-4071-FDB56C36AFEE}"/>
              </a:ext>
            </a:extLst>
          </p:cNvPr>
          <p:cNvSpPr/>
          <p:nvPr/>
        </p:nvSpPr>
        <p:spPr>
          <a:xfrm>
            <a:off x="8605896" y="2724942"/>
            <a:ext cx="2650313" cy="8711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dirty="0">
                <a:solidFill>
                  <a:schemeClr val="tx1"/>
                </a:solidFill>
                <a:latin typeface="Quicksand" panose="020B0604020202020204"/>
              </a:rPr>
              <a:t>Tip:</a:t>
            </a:r>
            <a:br>
              <a:rPr lang="da-DK" sz="1200" b="1" dirty="0">
                <a:solidFill>
                  <a:schemeClr val="tx1"/>
                </a:solidFill>
                <a:latin typeface="Quicksand" panose="020B0604020202020204"/>
              </a:rPr>
            </a:br>
            <a:r>
              <a:rPr lang="da-DK" sz="1200" dirty="0">
                <a:solidFill>
                  <a:schemeClr val="tx1"/>
                </a:solidFill>
                <a:latin typeface="Quicksand" panose="020B0604020202020204"/>
              </a:rPr>
              <a:t>I dialogen om skolens børnesyn kan I med fordel inddrage data fra jeres lokale skolerapport. I hvilken grad oplever I på skolen at have et fælles børnesyn*? </a:t>
            </a:r>
            <a:endParaRPr lang="da-DK" sz="1200" dirty="0">
              <a:solidFill>
                <a:schemeClr val="tx1"/>
              </a:solidFill>
              <a:latin typeface="Quicksand" panose="020B0604020202020204" charset="0"/>
              <a:ea typeface="Quicksand"/>
              <a:cs typeface="Quicksand" panose="020B0604020202020204" charset="0"/>
              <a:sym typeface="Quicksand"/>
            </a:endParaRPr>
          </a:p>
        </p:txBody>
      </p:sp>
      <p:sp>
        <p:nvSpPr>
          <p:cNvPr id="16" name="Google Shape;1251;p48">
            <a:extLst>
              <a:ext uri="{FF2B5EF4-FFF2-40B4-BE49-F238E27FC236}">
                <a16:creationId xmlns:a16="http://schemas.microsoft.com/office/drawing/2014/main" id="{72E99403-A121-F8B4-D1FF-54E02C719A0D}"/>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tx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375788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Google Shape;847;p29">
            <a:extLst>
              <a:ext uri="{FF2B5EF4-FFF2-40B4-BE49-F238E27FC236}">
                <a16:creationId xmlns:a16="http://schemas.microsoft.com/office/drawing/2014/main" id="{D92C82CA-11D4-A0BD-D471-ADD352FBEB13}"/>
              </a:ext>
            </a:extLst>
          </p:cNvPr>
          <p:cNvSpPr txBox="1"/>
          <p:nvPr/>
        </p:nvSpPr>
        <p:spPr>
          <a:xfrm>
            <a:off x="722711" y="1663602"/>
            <a:ext cx="5216076" cy="2756930"/>
          </a:xfrm>
          <a:prstGeom prst="rect">
            <a:avLst/>
          </a:prstGeom>
          <a:noFill/>
          <a:ln>
            <a:noFill/>
          </a:ln>
        </p:spPr>
        <p:txBody>
          <a:bodyPr spcFirstLastPara="1" wrap="square" lIns="0" tIns="180000" rIns="0" bIns="0" anchor="t" anchorCtr="0">
            <a:noAutofit/>
          </a:bodyPr>
          <a:lstStyle/>
          <a:p>
            <a:pPr lvl="0" algn="l">
              <a:spcBef>
                <a:spcPts val="0"/>
              </a:spcBef>
              <a:spcAft>
                <a:spcPts val="0"/>
              </a:spcAft>
            </a:pPr>
            <a:r>
              <a:rPr lang="da-DK" sz="1500" dirty="0">
                <a:latin typeface="Quicksand"/>
                <a:ea typeface="Quicksand"/>
                <a:cs typeface="Quicksand"/>
                <a:sym typeface="Quicksand"/>
              </a:rPr>
              <a:t>I spørgeskemaundersøgelsen er pædagogisk personale blevet bedt om at notere tre ord, der beskriver </a:t>
            </a:r>
            <a:r>
              <a:rPr lang="da-DK" sz="1500" b="1" dirty="0">
                <a:latin typeface="Quicksand"/>
                <a:ea typeface="Quicksand"/>
                <a:cs typeface="Quicksand"/>
                <a:sym typeface="Quicksand"/>
              </a:rPr>
              <a:t>børnesynet på deres skole</a:t>
            </a:r>
            <a:r>
              <a:rPr lang="da-DK" sz="1500" dirty="0">
                <a:latin typeface="Quicksand"/>
                <a:ea typeface="Quicksand"/>
                <a:cs typeface="Quicksand"/>
                <a:sym typeface="Quicksand"/>
              </a:rPr>
              <a:t>.</a:t>
            </a:r>
          </a:p>
          <a:p>
            <a:pPr lvl="0" algn="l">
              <a:spcBef>
                <a:spcPts val="0"/>
              </a:spcBef>
              <a:spcAft>
                <a:spcPts val="0"/>
              </a:spcAft>
            </a:pPr>
            <a:endParaRPr lang="da-DK" sz="1500" dirty="0">
              <a:latin typeface="Quicksand"/>
              <a:ea typeface="Quicksand"/>
              <a:cs typeface="Quicksand"/>
              <a:sym typeface="Quicksand"/>
            </a:endParaRPr>
          </a:p>
          <a:p>
            <a:pPr lvl="0" algn="l">
              <a:spcBef>
                <a:spcPts val="0"/>
              </a:spcBef>
              <a:spcAft>
                <a:spcPts val="0"/>
              </a:spcAft>
            </a:pPr>
            <a:r>
              <a:rPr lang="da-DK" sz="1500" dirty="0">
                <a:latin typeface="Quicksand"/>
                <a:ea typeface="Quicksand"/>
                <a:cs typeface="Quicksand"/>
                <a:sym typeface="Quicksand"/>
              </a:rPr>
              <a:t>Word-clouden til højre viser de mest brugte ord blandt pædagogisk personale. Jo større skrift, desto hyppigere er ordet anvendt. </a:t>
            </a:r>
          </a:p>
          <a:p>
            <a:pPr lvl="0" algn="l">
              <a:spcBef>
                <a:spcPts val="0"/>
              </a:spcBef>
              <a:spcAft>
                <a:spcPts val="0"/>
              </a:spcAft>
            </a:pPr>
            <a:endParaRPr lang="da-DK" sz="1500" b="1" dirty="0">
              <a:latin typeface="Quicksand"/>
              <a:ea typeface="Quicksand"/>
              <a:cs typeface="Quicksand"/>
              <a:sym typeface="Quicksand"/>
            </a:endParaRPr>
          </a:p>
          <a:p>
            <a:pPr lvl="0" algn="l">
              <a:spcBef>
                <a:spcPts val="0"/>
              </a:spcBef>
              <a:spcAft>
                <a:spcPts val="0"/>
              </a:spcAft>
            </a:pPr>
            <a:endParaRPr lang="da-DK" sz="1500" b="1" dirty="0">
              <a:latin typeface="Quicksand"/>
              <a:ea typeface="Quicksand"/>
              <a:cs typeface="Quicksand"/>
              <a:sym typeface="Quicksand"/>
            </a:endParaRPr>
          </a:p>
        </p:txBody>
      </p:sp>
      <p:sp>
        <p:nvSpPr>
          <p:cNvPr id="2" name="TextBox 1">
            <a:extLst>
              <a:ext uri="{FF2B5EF4-FFF2-40B4-BE49-F238E27FC236}">
                <a16:creationId xmlns:a16="http://schemas.microsoft.com/office/drawing/2014/main" id="{E2D1994F-904E-3B29-8C96-E2DB5935CF5D}"/>
              </a:ext>
            </a:extLst>
          </p:cNvPr>
          <p:cNvSpPr txBox="1"/>
          <p:nvPr/>
        </p:nvSpPr>
        <p:spPr>
          <a:xfrm>
            <a:off x="0" y="546977"/>
            <a:ext cx="12192000" cy="615553"/>
          </a:xfrm>
          <a:custGeom>
            <a:avLst/>
            <a:gdLst>
              <a:gd name="connsiteX0" fmla="*/ 0 w 12192000"/>
              <a:gd name="connsiteY0" fmla="*/ 0 h 615553"/>
              <a:gd name="connsiteX1" fmla="*/ 555413 w 12192000"/>
              <a:gd name="connsiteY1" fmla="*/ 0 h 615553"/>
              <a:gd name="connsiteX2" fmla="*/ 866987 w 12192000"/>
              <a:gd name="connsiteY2" fmla="*/ 0 h 615553"/>
              <a:gd name="connsiteX3" fmla="*/ 1788160 w 12192000"/>
              <a:gd name="connsiteY3" fmla="*/ 0 h 615553"/>
              <a:gd name="connsiteX4" fmla="*/ 2343573 w 12192000"/>
              <a:gd name="connsiteY4" fmla="*/ 0 h 615553"/>
              <a:gd name="connsiteX5" fmla="*/ 2898987 w 12192000"/>
              <a:gd name="connsiteY5" fmla="*/ 0 h 615553"/>
              <a:gd name="connsiteX6" fmla="*/ 3820160 w 12192000"/>
              <a:gd name="connsiteY6" fmla="*/ 0 h 615553"/>
              <a:gd name="connsiteX7" fmla="*/ 4253653 w 12192000"/>
              <a:gd name="connsiteY7" fmla="*/ 0 h 615553"/>
              <a:gd name="connsiteX8" fmla="*/ 5174827 w 12192000"/>
              <a:gd name="connsiteY8" fmla="*/ 0 h 615553"/>
              <a:gd name="connsiteX9" fmla="*/ 6096000 w 12192000"/>
              <a:gd name="connsiteY9" fmla="*/ 0 h 615553"/>
              <a:gd name="connsiteX10" fmla="*/ 6773333 w 12192000"/>
              <a:gd name="connsiteY10" fmla="*/ 0 h 615553"/>
              <a:gd name="connsiteX11" fmla="*/ 7694507 w 12192000"/>
              <a:gd name="connsiteY11" fmla="*/ 0 h 615553"/>
              <a:gd name="connsiteX12" fmla="*/ 8249920 w 12192000"/>
              <a:gd name="connsiteY12" fmla="*/ 0 h 615553"/>
              <a:gd name="connsiteX13" fmla="*/ 8805333 w 12192000"/>
              <a:gd name="connsiteY13" fmla="*/ 0 h 615553"/>
              <a:gd name="connsiteX14" fmla="*/ 9604587 w 12192000"/>
              <a:gd name="connsiteY14" fmla="*/ 0 h 615553"/>
              <a:gd name="connsiteX15" fmla="*/ 10160000 w 12192000"/>
              <a:gd name="connsiteY15" fmla="*/ 0 h 615553"/>
              <a:gd name="connsiteX16" fmla="*/ 11081173 w 12192000"/>
              <a:gd name="connsiteY16" fmla="*/ 0 h 615553"/>
              <a:gd name="connsiteX17" fmla="*/ 12192000 w 12192000"/>
              <a:gd name="connsiteY17" fmla="*/ 0 h 615553"/>
              <a:gd name="connsiteX18" fmla="*/ 12192000 w 12192000"/>
              <a:gd name="connsiteY18" fmla="*/ 615553 h 615553"/>
              <a:gd name="connsiteX19" fmla="*/ 11392747 w 12192000"/>
              <a:gd name="connsiteY19" fmla="*/ 615553 h 615553"/>
              <a:gd name="connsiteX20" fmla="*/ 10959253 w 12192000"/>
              <a:gd name="connsiteY20" fmla="*/ 615553 h 615553"/>
              <a:gd name="connsiteX21" fmla="*/ 10038080 w 12192000"/>
              <a:gd name="connsiteY21" fmla="*/ 615553 h 615553"/>
              <a:gd name="connsiteX22" fmla="*/ 9360747 w 12192000"/>
              <a:gd name="connsiteY22" fmla="*/ 615553 h 615553"/>
              <a:gd name="connsiteX23" fmla="*/ 8927253 w 12192000"/>
              <a:gd name="connsiteY23" fmla="*/ 615553 h 615553"/>
              <a:gd name="connsiteX24" fmla="*/ 8249920 w 12192000"/>
              <a:gd name="connsiteY24" fmla="*/ 615553 h 615553"/>
              <a:gd name="connsiteX25" fmla="*/ 7938347 w 12192000"/>
              <a:gd name="connsiteY25" fmla="*/ 615553 h 615553"/>
              <a:gd name="connsiteX26" fmla="*/ 7626773 w 12192000"/>
              <a:gd name="connsiteY26" fmla="*/ 615553 h 615553"/>
              <a:gd name="connsiteX27" fmla="*/ 6949440 w 12192000"/>
              <a:gd name="connsiteY27" fmla="*/ 615553 h 615553"/>
              <a:gd name="connsiteX28" fmla="*/ 6515947 w 12192000"/>
              <a:gd name="connsiteY28" fmla="*/ 615553 h 615553"/>
              <a:gd name="connsiteX29" fmla="*/ 5716693 w 12192000"/>
              <a:gd name="connsiteY29" fmla="*/ 615553 h 615553"/>
              <a:gd name="connsiteX30" fmla="*/ 5283200 w 12192000"/>
              <a:gd name="connsiteY30" fmla="*/ 615553 h 615553"/>
              <a:gd name="connsiteX31" fmla="*/ 4483947 w 12192000"/>
              <a:gd name="connsiteY31" fmla="*/ 615553 h 615553"/>
              <a:gd name="connsiteX32" fmla="*/ 4172373 w 12192000"/>
              <a:gd name="connsiteY32" fmla="*/ 615553 h 615553"/>
              <a:gd name="connsiteX33" fmla="*/ 3373120 w 12192000"/>
              <a:gd name="connsiteY33" fmla="*/ 615553 h 615553"/>
              <a:gd name="connsiteX34" fmla="*/ 2939627 w 12192000"/>
              <a:gd name="connsiteY34" fmla="*/ 615553 h 615553"/>
              <a:gd name="connsiteX35" fmla="*/ 2628053 w 12192000"/>
              <a:gd name="connsiteY35" fmla="*/ 615553 h 615553"/>
              <a:gd name="connsiteX36" fmla="*/ 2194560 w 12192000"/>
              <a:gd name="connsiteY36" fmla="*/ 615553 h 615553"/>
              <a:gd name="connsiteX37" fmla="*/ 1395307 w 12192000"/>
              <a:gd name="connsiteY37" fmla="*/ 615553 h 615553"/>
              <a:gd name="connsiteX38" fmla="*/ 961813 w 12192000"/>
              <a:gd name="connsiteY38" fmla="*/ 615553 h 615553"/>
              <a:gd name="connsiteX39" fmla="*/ 650240 w 12192000"/>
              <a:gd name="connsiteY39" fmla="*/ 615553 h 615553"/>
              <a:gd name="connsiteX40" fmla="*/ 0 w 12192000"/>
              <a:gd name="connsiteY40" fmla="*/ 615553 h 615553"/>
              <a:gd name="connsiteX41" fmla="*/ 0 w 12192000"/>
              <a:gd name="connsiteY41" fmla="*/ 0 h 615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2000" h="615553" extrusionOk="0">
                <a:moveTo>
                  <a:pt x="0" y="0"/>
                </a:moveTo>
                <a:cubicBezTo>
                  <a:pt x="172476" y="-1237"/>
                  <a:pt x="362690" y="-25324"/>
                  <a:pt x="555413" y="0"/>
                </a:cubicBezTo>
                <a:cubicBezTo>
                  <a:pt x="748136" y="25324"/>
                  <a:pt x="771955" y="-1228"/>
                  <a:pt x="866987" y="0"/>
                </a:cubicBezTo>
                <a:cubicBezTo>
                  <a:pt x="962019" y="1228"/>
                  <a:pt x="1600613" y="23388"/>
                  <a:pt x="1788160" y="0"/>
                </a:cubicBezTo>
                <a:cubicBezTo>
                  <a:pt x="1975707" y="-23388"/>
                  <a:pt x="2108729" y="-1887"/>
                  <a:pt x="2343573" y="0"/>
                </a:cubicBezTo>
                <a:cubicBezTo>
                  <a:pt x="2578417" y="1887"/>
                  <a:pt x="2752949" y="-24220"/>
                  <a:pt x="2898987" y="0"/>
                </a:cubicBezTo>
                <a:cubicBezTo>
                  <a:pt x="3045025" y="24220"/>
                  <a:pt x="3491919" y="21338"/>
                  <a:pt x="3820160" y="0"/>
                </a:cubicBezTo>
                <a:cubicBezTo>
                  <a:pt x="4148401" y="-21338"/>
                  <a:pt x="4081710" y="-3640"/>
                  <a:pt x="4253653" y="0"/>
                </a:cubicBezTo>
                <a:cubicBezTo>
                  <a:pt x="4425596" y="3640"/>
                  <a:pt x="4811390" y="16743"/>
                  <a:pt x="5174827" y="0"/>
                </a:cubicBezTo>
                <a:cubicBezTo>
                  <a:pt x="5538264" y="-16743"/>
                  <a:pt x="5741154" y="19844"/>
                  <a:pt x="6096000" y="0"/>
                </a:cubicBezTo>
                <a:cubicBezTo>
                  <a:pt x="6450846" y="-19844"/>
                  <a:pt x="6619865" y="-29521"/>
                  <a:pt x="6773333" y="0"/>
                </a:cubicBezTo>
                <a:cubicBezTo>
                  <a:pt x="6926801" y="29521"/>
                  <a:pt x="7451435" y="28560"/>
                  <a:pt x="7694507" y="0"/>
                </a:cubicBezTo>
                <a:cubicBezTo>
                  <a:pt x="7937579" y="-28560"/>
                  <a:pt x="8048651" y="20071"/>
                  <a:pt x="8249920" y="0"/>
                </a:cubicBezTo>
                <a:cubicBezTo>
                  <a:pt x="8451189" y="-20071"/>
                  <a:pt x="8573630" y="25711"/>
                  <a:pt x="8805333" y="0"/>
                </a:cubicBezTo>
                <a:cubicBezTo>
                  <a:pt x="9037036" y="-25711"/>
                  <a:pt x="9234701" y="-9987"/>
                  <a:pt x="9604587" y="0"/>
                </a:cubicBezTo>
                <a:cubicBezTo>
                  <a:pt x="9974473" y="9987"/>
                  <a:pt x="9998347" y="7806"/>
                  <a:pt x="10160000" y="0"/>
                </a:cubicBezTo>
                <a:cubicBezTo>
                  <a:pt x="10321653" y="-7806"/>
                  <a:pt x="10669739" y="-24619"/>
                  <a:pt x="11081173" y="0"/>
                </a:cubicBezTo>
                <a:cubicBezTo>
                  <a:pt x="11492607" y="24619"/>
                  <a:pt x="11649370" y="3326"/>
                  <a:pt x="12192000" y="0"/>
                </a:cubicBezTo>
                <a:cubicBezTo>
                  <a:pt x="12193353" y="181846"/>
                  <a:pt x="12215854" y="430640"/>
                  <a:pt x="12192000" y="615553"/>
                </a:cubicBezTo>
                <a:cubicBezTo>
                  <a:pt x="12020805" y="646419"/>
                  <a:pt x="11594423" y="587709"/>
                  <a:pt x="11392747" y="615553"/>
                </a:cubicBezTo>
                <a:cubicBezTo>
                  <a:pt x="11191071" y="643397"/>
                  <a:pt x="11053915" y="632886"/>
                  <a:pt x="10959253" y="615553"/>
                </a:cubicBezTo>
                <a:cubicBezTo>
                  <a:pt x="10864591" y="598220"/>
                  <a:pt x="10369258" y="629878"/>
                  <a:pt x="10038080" y="615553"/>
                </a:cubicBezTo>
                <a:cubicBezTo>
                  <a:pt x="9706902" y="601228"/>
                  <a:pt x="9630385" y="598949"/>
                  <a:pt x="9360747" y="615553"/>
                </a:cubicBezTo>
                <a:cubicBezTo>
                  <a:pt x="9091109" y="632157"/>
                  <a:pt x="9076667" y="634370"/>
                  <a:pt x="8927253" y="615553"/>
                </a:cubicBezTo>
                <a:cubicBezTo>
                  <a:pt x="8777839" y="596736"/>
                  <a:pt x="8413967" y="612048"/>
                  <a:pt x="8249920" y="615553"/>
                </a:cubicBezTo>
                <a:cubicBezTo>
                  <a:pt x="8085873" y="619058"/>
                  <a:pt x="8075056" y="615350"/>
                  <a:pt x="7938347" y="615553"/>
                </a:cubicBezTo>
                <a:cubicBezTo>
                  <a:pt x="7801638" y="615756"/>
                  <a:pt x="7749777" y="630996"/>
                  <a:pt x="7626773" y="615553"/>
                </a:cubicBezTo>
                <a:cubicBezTo>
                  <a:pt x="7503769" y="600110"/>
                  <a:pt x="7095462" y="642021"/>
                  <a:pt x="6949440" y="615553"/>
                </a:cubicBezTo>
                <a:cubicBezTo>
                  <a:pt x="6803418" y="589085"/>
                  <a:pt x="6644725" y="597012"/>
                  <a:pt x="6515947" y="615553"/>
                </a:cubicBezTo>
                <a:cubicBezTo>
                  <a:pt x="6387169" y="634094"/>
                  <a:pt x="5941428" y="611048"/>
                  <a:pt x="5716693" y="615553"/>
                </a:cubicBezTo>
                <a:cubicBezTo>
                  <a:pt x="5491958" y="620058"/>
                  <a:pt x="5395864" y="624069"/>
                  <a:pt x="5283200" y="615553"/>
                </a:cubicBezTo>
                <a:cubicBezTo>
                  <a:pt x="5170536" y="607037"/>
                  <a:pt x="4782035" y="645400"/>
                  <a:pt x="4483947" y="615553"/>
                </a:cubicBezTo>
                <a:cubicBezTo>
                  <a:pt x="4185859" y="585706"/>
                  <a:pt x="4279449" y="614862"/>
                  <a:pt x="4172373" y="615553"/>
                </a:cubicBezTo>
                <a:cubicBezTo>
                  <a:pt x="4065297" y="616244"/>
                  <a:pt x="3755654" y="613527"/>
                  <a:pt x="3373120" y="615553"/>
                </a:cubicBezTo>
                <a:cubicBezTo>
                  <a:pt x="2990586" y="617579"/>
                  <a:pt x="3113127" y="622094"/>
                  <a:pt x="2939627" y="615553"/>
                </a:cubicBezTo>
                <a:cubicBezTo>
                  <a:pt x="2766127" y="609012"/>
                  <a:pt x="2746942" y="605641"/>
                  <a:pt x="2628053" y="615553"/>
                </a:cubicBezTo>
                <a:cubicBezTo>
                  <a:pt x="2509164" y="625465"/>
                  <a:pt x="2346483" y="610575"/>
                  <a:pt x="2194560" y="615553"/>
                </a:cubicBezTo>
                <a:cubicBezTo>
                  <a:pt x="2042637" y="620531"/>
                  <a:pt x="1580466" y="623074"/>
                  <a:pt x="1395307" y="615553"/>
                </a:cubicBezTo>
                <a:cubicBezTo>
                  <a:pt x="1210148" y="608032"/>
                  <a:pt x="1154769" y="610799"/>
                  <a:pt x="961813" y="615553"/>
                </a:cubicBezTo>
                <a:cubicBezTo>
                  <a:pt x="768857" y="620307"/>
                  <a:pt x="767400" y="614989"/>
                  <a:pt x="650240" y="615553"/>
                </a:cubicBezTo>
                <a:cubicBezTo>
                  <a:pt x="533080" y="616117"/>
                  <a:pt x="316546" y="595935"/>
                  <a:pt x="0" y="615553"/>
                </a:cubicBezTo>
                <a:cubicBezTo>
                  <a:pt x="-7981" y="324085"/>
                  <a:pt x="-18890" y="280249"/>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4000" b="1" dirty="0">
                <a:latin typeface="Amatic SC" panose="00000500000000000000" pitchFamily="2" charset="-79"/>
                <a:cs typeface="Amatic SC" panose="00000500000000000000" pitchFamily="2" charset="-79"/>
              </a:rPr>
              <a:t>pædagogisk personales beskrivelse af børnesyn</a:t>
            </a:r>
          </a:p>
        </p:txBody>
      </p:sp>
      <p:sp>
        <p:nvSpPr>
          <p:cNvPr id="11" name="Rectangle 10">
            <a:extLst>
              <a:ext uri="{FF2B5EF4-FFF2-40B4-BE49-F238E27FC236}">
                <a16:creationId xmlns:a16="http://schemas.microsoft.com/office/drawing/2014/main" id="{61C2465E-B462-E14D-D381-19CD0B271F33}"/>
              </a:ext>
            </a:extLst>
          </p:cNvPr>
          <p:cNvSpPr/>
          <p:nvPr/>
        </p:nvSpPr>
        <p:spPr>
          <a:xfrm>
            <a:off x="4283573" y="6257392"/>
            <a:ext cx="222636"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TextBox 11">
            <a:extLst>
              <a:ext uri="{FF2B5EF4-FFF2-40B4-BE49-F238E27FC236}">
                <a16:creationId xmlns:a16="http://schemas.microsoft.com/office/drawing/2014/main" id="{8384D55F-7E1E-DCEF-FA6E-556F3A8CD4DE}"/>
              </a:ext>
            </a:extLst>
          </p:cNvPr>
          <p:cNvSpPr txBox="1"/>
          <p:nvPr/>
        </p:nvSpPr>
        <p:spPr>
          <a:xfrm>
            <a:off x="956711" y="4640400"/>
            <a:ext cx="4622154" cy="553998"/>
          </a:xfrm>
          <a:custGeom>
            <a:avLst/>
            <a:gdLst>
              <a:gd name="connsiteX0" fmla="*/ 0 w 4622154"/>
              <a:gd name="connsiteY0" fmla="*/ 0 h 553998"/>
              <a:gd name="connsiteX1" fmla="*/ 614086 w 4622154"/>
              <a:gd name="connsiteY1" fmla="*/ 0 h 553998"/>
              <a:gd name="connsiteX2" fmla="*/ 1135729 w 4622154"/>
              <a:gd name="connsiteY2" fmla="*/ 0 h 553998"/>
              <a:gd name="connsiteX3" fmla="*/ 1703594 w 4622154"/>
              <a:gd name="connsiteY3" fmla="*/ 0 h 553998"/>
              <a:gd name="connsiteX4" fmla="*/ 2410123 w 4622154"/>
              <a:gd name="connsiteY4" fmla="*/ 0 h 553998"/>
              <a:gd name="connsiteX5" fmla="*/ 3024209 w 4622154"/>
              <a:gd name="connsiteY5" fmla="*/ 0 h 553998"/>
              <a:gd name="connsiteX6" fmla="*/ 3592074 w 4622154"/>
              <a:gd name="connsiteY6" fmla="*/ 0 h 553998"/>
              <a:gd name="connsiteX7" fmla="*/ 4622154 w 4622154"/>
              <a:gd name="connsiteY7" fmla="*/ 0 h 553998"/>
              <a:gd name="connsiteX8" fmla="*/ 4622154 w 4622154"/>
              <a:gd name="connsiteY8" fmla="*/ 553998 h 553998"/>
              <a:gd name="connsiteX9" fmla="*/ 3961846 w 4622154"/>
              <a:gd name="connsiteY9" fmla="*/ 553998 h 553998"/>
              <a:gd name="connsiteX10" fmla="*/ 3393982 w 4622154"/>
              <a:gd name="connsiteY10" fmla="*/ 553998 h 553998"/>
              <a:gd name="connsiteX11" fmla="*/ 2641231 w 4622154"/>
              <a:gd name="connsiteY11" fmla="*/ 553998 h 553998"/>
              <a:gd name="connsiteX12" fmla="*/ 2027145 w 4622154"/>
              <a:gd name="connsiteY12" fmla="*/ 553998 h 553998"/>
              <a:gd name="connsiteX13" fmla="*/ 1505502 w 4622154"/>
              <a:gd name="connsiteY13" fmla="*/ 553998 h 553998"/>
              <a:gd name="connsiteX14" fmla="*/ 798972 w 4622154"/>
              <a:gd name="connsiteY14" fmla="*/ 553998 h 553998"/>
              <a:gd name="connsiteX15" fmla="*/ 0 w 4622154"/>
              <a:gd name="connsiteY15" fmla="*/ 553998 h 553998"/>
              <a:gd name="connsiteX16" fmla="*/ 0 w 4622154"/>
              <a:gd name="connsiteY16" fmla="*/ 0 h 55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154" h="553998" fill="none" extrusionOk="0">
                <a:moveTo>
                  <a:pt x="0" y="0"/>
                </a:moveTo>
                <a:cubicBezTo>
                  <a:pt x="203121" y="22254"/>
                  <a:pt x="478823" y="-23400"/>
                  <a:pt x="614086" y="0"/>
                </a:cubicBezTo>
                <a:cubicBezTo>
                  <a:pt x="749349" y="23400"/>
                  <a:pt x="987888" y="-4835"/>
                  <a:pt x="1135729" y="0"/>
                </a:cubicBezTo>
                <a:cubicBezTo>
                  <a:pt x="1283570" y="4835"/>
                  <a:pt x="1446742" y="-4431"/>
                  <a:pt x="1703594" y="0"/>
                </a:cubicBezTo>
                <a:cubicBezTo>
                  <a:pt x="1960447" y="4431"/>
                  <a:pt x="2136654" y="27059"/>
                  <a:pt x="2410123" y="0"/>
                </a:cubicBezTo>
                <a:cubicBezTo>
                  <a:pt x="2683592" y="-27059"/>
                  <a:pt x="2785133" y="26512"/>
                  <a:pt x="3024209" y="0"/>
                </a:cubicBezTo>
                <a:cubicBezTo>
                  <a:pt x="3263285" y="-26512"/>
                  <a:pt x="3335358" y="-23626"/>
                  <a:pt x="3592074" y="0"/>
                </a:cubicBezTo>
                <a:cubicBezTo>
                  <a:pt x="3848791" y="23626"/>
                  <a:pt x="4130378" y="10044"/>
                  <a:pt x="4622154" y="0"/>
                </a:cubicBezTo>
                <a:cubicBezTo>
                  <a:pt x="4637152" y="259943"/>
                  <a:pt x="4614634" y="398024"/>
                  <a:pt x="4622154" y="553998"/>
                </a:cubicBezTo>
                <a:cubicBezTo>
                  <a:pt x="4299385" y="584508"/>
                  <a:pt x="4244853" y="524374"/>
                  <a:pt x="3961846" y="553998"/>
                </a:cubicBezTo>
                <a:cubicBezTo>
                  <a:pt x="3678839" y="583622"/>
                  <a:pt x="3676527" y="539782"/>
                  <a:pt x="3393982" y="553998"/>
                </a:cubicBezTo>
                <a:cubicBezTo>
                  <a:pt x="3111437" y="568214"/>
                  <a:pt x="2859202" y="555841"/>
                  <a:pt x="2641231" y="553998"/>
                </a:cubicBezTo>
                <a:cubicBezTo>
                  <a:pt x="2423260" y="552155"/>
                  <a:pt x="2227887" y="530869"/>
                  <a:pt x="2027145" y="553998"/>
                </a:cubicBezTo>
                <a:cubicBezTo>
                  <a:pt x="1826403" y="577127"/>
                  <a:pt x="1656596" y="533377"/>
                  <a:pt x="1505502" y="553998"/>
                </a:cubicBezTo>
                <a:cubicBezTo>
                  <a:pt x="1354408" y="574619"/>
                  <a:pt x="1091369" y="536839"/>
                  <a:pt x="798972" y="553998"/>
                </a:cubicBezTo>
                <a:cubicBezTo>
                  <a:pt x="506575" y="571158"/>
                  <a:pt x="371456" y="577656"/>
                  <a:pt x="0" y="553998"/>
                </a:cubicBezTo>
                <a:cubicBezTo>
                  <a:pt x="-21494" y="334284"/>
                  <a:pt x="14111" y="189339"/>
                  <a:pt x="0" y="0"/>
                </a:cubicBezTo>
                <a:close/>
              </a:path>
              <a:path w="4622154" h="553998" stroke="0" extrusionOk="0">
                <a:moveTo>
                  <a:pt x="0" y="0"/>
                </a:moveTo>
                <a:cubicBezTo>
                  <a:pt x="287573" y="-3423"/>
                  <a:pt x="404844" y="-9878"/>
                  <a:pt x="614086" y="0"/>
                </a:cubicBezTo>
                <a:cubicBezTo>
                  <a:pt x="823328" y="9878"/>
                  <a:pt x="968714" y="17978"/>
                  <a:pt x="1135729" y="0"/>
                </a:cubicBezTo>
                <a:cubicBezTo>
                  <a:pt x="1302744" y="-17978"/>
                  <a:pt x="1576843" y="15773"/>
                  <a:pt x="1888480" y="0"/>
                </a:cubicBezTo>
                <a:cubicBezTo>
                  <a:pt x="2200117" y="-15773"/>
                  <a:pt x="2199072" y="-25988"/>
                  <a:pt x="2502566" y="0"/>
                </a:cubicBezTo>
                <a:cubicBezTo>
                  <a:pt x="2806060" y="25988"/>
                  <a:pt x="2833750" y="-24662"/>
                  <a:pt x="3116652" y="0"/>
                </a:cubicBezTo>
                <a:cubicBezTo>
                  <a:pt x="3399554" y="24662"/>
                  <a:pt x="3493731" y="-6361"/>
                  <a:pt x="3869403" y="0"/>
                </a:cubicBezTo>
                <a:cubicBezTo>
                  <a:pt x="4245075" y="6361"/>
                  <a:pt x="4348466" y="-11941"/>
                  <a:pt x="4622154" y="0"/>
                </a:cubicBezTo>
                <a:cubicBezTo>
                  <a:pt x="4600289" y="270947"/>
                  <a:pt x="4627960" y="379060"/>
                  <a:pt x="4622154" y="553998"/>
                </a:cubicBezTo>
                <a:cubicBezTo>
                  <a:pt x="4403139" y="526988"/>
                  <a:pt x="4320727" y="541696"/>
                  <a:pt x="4054289" y="553998"/>
                </a:cubicBezTo>
                <a:cubicBezTo>
                  <a:pt x="3787851" y="566300"/>
                  <a:pt x="3544047" y="568965"/>
                  <a:pt x="3393982" y="553998"/>
                </a:cubicBezTo>
                <a:cubicBezTo>
                  <a:pt x="3243917" y="539031"/>
                  <a:pt x="2958597" y="577856"/>
                  <a:pt x="2733674" y="553998"/>
                </a:cubicBezTo>
                <a:cubicBezTo>
                  <a:pt x="2508751" y="530140"/>
                  <a:pt x="2408489" y="573019"/>
                  <a:pt x="2119588" y="553998"/>
                </a:cubicBezTo>
                <a:cubicBezTo>
                  <a:pt x="1830687" y="534977"/>
                  <a:pt x="1556347" y="546640"/>
                  <a:pt x="1366837" y="553998"/>
                </a:cubicBezTo>
                <a:cubicBezTo>
                  <a:pt x="1177327" y="561356"/>
                  <a:pt x="869746" y="576335"/>
                  <a:pt x="614086" y="553998"/>
                </a:cubicBezTo>
                <a:cubicBezTo>
                  <a:pt x="358426" y="531661"/>
                  <a:pt x="207323" y="531117"/>
                  <a:pt x="0" y="553998"/>
                </a:cubicBezTo>
                <a:cubicBezTo>
                  <a:pt x="-22035" y="382355"/>
                  <a:pt x="-5068" y="126672"/>
                  <a:pt x="0" y="0"/>
                </a:cubicBezTo>
                <a:close/>
              </a:path>
            </a:pathLst>
          </a:custGeom>
          <a:solidFill>
            <a:schemeClr val="bg1"/>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algn="ctr"/>
            <a:br>
              <a:rPr lang="da-DK" sz="1200" dirty="0">
                <a:latin typeface="Quicksand" panose="020B0604020202020204" charset="0"/>
                <a:cs typeface="Amatic SC" panose="00000500000000000000" pitchFamily="2" charset="-79"/>
              </a:rPr>
            </a:br>
            <a:r>
              <a:rPr lang="da-DK" sz="1200" dirty="0">
                <a:latin typeface="Quicksand" panose="020B0604020202020204" charset="0"/>
                <a:cs typeface="Amatic SC" panose="00000500000000000000" pitchFamily="2" charset="-79"/>
              </a:rPr>
              <a:t>Find øvelsesbeskrivelsen til arbejdet med børnesynet </a:t>
            </a:r>
            <a:r>
              <a:rPr lang="da-DK" sz="1200" b="1" dirty="0">
                <a:latin typeface="Quicksand" panose="020B0604020202020204" charset="0"/>
                <a:cs typeface="Amatic SC" panose="00000500000000000000" pitchFamily="2" charset="-79"/>
              </a:rPr>
              <a:t>på forrige slide</a:t>
            </a:r>
            <a:br>
              <a:rPr lang="da-DK" sz="1200" dirty="0">
                <a:latin typeface="Quicksand" panose="020B0604020202020204" charset="0"/>
                <a:cs typeface="Amatic SC" panose="00000500000000000000" pitchFamily="2" charset="-79"/>
              </a:rPr>
            </a:br>
            <a:endParaRPr lang="da-DK" sz="1200" dirty="0">
              <a:latin typeface="Quicksand" panose="020B0604020202020204" charset="0"/>
              <a:cs typeface="Amatic SC" panose="00000500000000000000" pitchFamily="2" charset="-79"/>
            </a:endParaRPr>
          </a:p>
        </p:txBody>
      </p:sp>
      <p:sp>
        <p:nvSpPr>
          <p:cNvPr id="18" name="Rectangle 17">
            <a:extLst>
              <a:ext uri="{FF2B5EF4-FFF2-40B4-BE49-F238E27FC236}">
                <a16:creationId xmlns:a16="http://schemas.microsoft.com/office/drawing/2014/main" id="{B126E0E7-8F1A-4E83-AEAE-C588D916E325}"/>
              </a:ext>
            </a:extLst>
          </p:cNvPr>
          <p:cNvSpPr/>
          <p:nvPr/>
        </p:nvSpPr>
        <p:spPr>
          <a:xfrm>
            <a:off x="4256352" y="5872241"/>
            <a:ext cx="277078"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pic>
        <p:nvPicPr>
          <p:cNvPr id="17" name="Graphic 16" descr="Information with solid fill">
            <a:extLst>
              <a:ext uri="{FF2B5EF4-FFF2-40B4-BE49-F238E27FC236}">
                <a16:creationId xmlns:a16="http://schemas.microsoft.com/office/drawing/2014/main" id="{509111C6-2F25-4FD4-0BB2-8121F684E3D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5625" y="4449399"/>
            <a:ext cx="468000" cy="468000"/>
          </a:xfrm>
          <a:prstGeom prst="rect">
            <a:avLst/>
          </a:prstGeom>
        </p:spPr>
      </p:pic>
      <p:pic>
        <p:nvPicPr>
          <p:cNvPr id="9" name="Picture 8">
            <a:extLst>
              <a:ext uri="{FF2B5EF4-FFF2-40B4-BE49-F238E27FC236}">
                <a16:creationId xmlns:a16="http://schemas.microsoft.com/office/drawing/2014/main" id="{CEDDE328-FC27-94EF-A598-F7917489204E}"/>
              </a:ext>
            </a:extLst>
          </p:cNvPr>
          <p:cNvPicPr>
            <a:picLocks noChangeAspect="1"/>
          </p:cNvPicPr>
          <p:nvPr/>
        </p:nvPicPr>
        <p:blipFill>
          <a:blip r:embed="rId8"/>
          <a:stretch>
            <a:fillRect/>
          </a:stretch>
        </p:blipFill>
        <p:spPr>
          <a:xfrm>
            <a:off x="6987489" y="1685647"/>
            <a:ext cx="3876675" cy="3638550"/>
          </a:xfrm>
          <a:prstGeom prst="rect">
            <a:avLst/>
          </a:prstGeom>
        </p:spPr>
      </p:pic>
    </p:spTree>
    <p:extLst>
      <p:ext uri="{BB962C8B-B14F-4D97-AF65-F5344CB8AC3E}">
        <p14:creationId xmlns:p14="http://schemas.microsoft.com/office/powerpoint/2010/main" val="4186139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2</a:t>
            </a:fld>
            <a:endParaRPr lang="da-DK"/>
          </a:p>
        </p:txBody>
      </p:sp>
      <p:sp>
        <p:nvSpPr>
          <p:cNvPr id="6" name="Slide Number Placeholder 3">
            <a:extLst>
              <a:ext uri="{FF2B5EF4-FFF2-40B4-BE49-F238E27FC236}">
                <a16:creationId xmlns:a16="http://schemas.microsoft.com/office/drawing/2014/main" id="{39CB2AEC-1378-C3A5-143E-AA8B5BA7C9F4}"/>
              </a:ext>
            </a:extLst>
          </p:cNvPr>
          <p:cNvSpPr txBox="1">
            <a:spLocks/>
          </p:cNvSpPr>
          <p:nvPr/>
        </p:nvSpPr>
        <p:spPr>
          <a:xfrm>
            <a:off x="11206800" y="6476400"/>
            <a:ext cx="626400" cy="108000"/>
          </a:xfrm>
          <a:prstGeom prst="rect">
            <a:avLst/>
          </a:prstGeom>
        </p:spPr>
        <p:txBody>
          <a:bodyPr vert="horz" lIns="0" tIns="0" rIns="0" bIns="0" rtlCol="0" anchor="b" anchorCtr="0"/>
          <a:lstStyle>
            <a:defPPr>
              <a:defRPr lang="en-US"/>
            </a:defPPr>
            <a:lvl1pPr marL="0" algn="r" defTabSz="914400" rtl="0" eaLnBrk="1" latinLnBrk="0" hangingPunct="1">
              <a:defRPr sz="7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da-DK" smtClean="0"/>
              <a:pPr/>
              <a:t>2</a:t>
            </a:fld>
            <a:endParaRPr lang="da-DK"/>
          </a:p>
        </p:txBody>
      </p:sp>
      <p:pic>
        <p:nvPicPr>
          <p:cNvPr id="23" name="Graphic 22" descr="Thought bubble with solid fill">
            <a:hlinkClick r:id="" action="ppaction://noaction"/>
            <a:extLst>
              <a:ext uri="{FF2B5EF4-FFF2-40B4-BE49-F238E27FC236}">
                <a16:creationId xmlns:a16="http://schemas.microsoft.com/office/drawing/2014/main" id="{D3100FAF-7176-12B3-73A0-06F30E7248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2590" y="1697293"/>
            <a:ext cx="1151721" cy="1151721"/>
          </a:xfrm>
          <a:prstGeom prst="rect">
            <a:avLst/>
          </a:prstGeom>
        </p:spPr>
      </p:pic>
      <p:pic>
        <p:nvPicPr>
          <p:cNvPr id="24" name="Graphic 23" descr="Child with balloon with solid fill">
            <a:hlinkClick r:id="" action="ppaction://noaction"/>
            <a:extLst>
              <a:ext uri="{FF2B5EF4-FFF2-40B4-BE49-F238E27FC236}">
                <a16:creationId xmlns:a16="http://schemas.microsoft.com/office/drawing/2014/main" id="{432B1988-17AD-48E3-80DC-7CC47B01562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520139" y="1594424"/>
            <a:ext cx="1151721" cy="1151721"/>
          </a:xfrm>
          <a:prstGeom prst="rect">
            <a:avLst/>
          </a:prstGeom>
        </p:spPr>
      </p:pic>
      <p:pic>
        <p:nvPicPr>
          <p:cNvPr id="26" name="Graphic 25" descr="Compass with solid fill">
            <a:hlinkClick r:id="" action="ppaction://noaction"/>
            <a:extLst>
              <a:ext uri="{FF2B5EF4-FFF2-40B4-BE49-F238E27FC236}">
                <a16:creationId xmlns:a16="http://schemas.microsoft.com/office/drawing/2014/main" id="{BF10E0B9-502F-1EF1-7428-C2E6171C62E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91919" y="1649533"/>
            <a:ext cx="1096611" cy="1096611"/>
          </a:xfrm>
          <a:prstGeom prst="rect">
            <a:avLst/>
          </a:prstGeom>
        </p:spPr>
      </p:pic>
      <p:pic>
        <p:nvPicPr>
          <p:cNvPr id="28" name="Graphic 27" descr="Chat with solid fill">
            <a:hlinkClick r:id="" action="ppaction://noaction"/>
            <a:extLst>
              <a:ext uri="{FF2B5EF4-FFF2-40B4-BE49-F238E27FC236}">
                <a16:creationId xmlns:a16="http://schemas.microsoft.com/office/drawing/2014/main" id="{5D8C751C-8B63-B3A7-B238-631B85C6450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79996" y="3752441"/>
            <a:ext cx="1246375" cy="1246375"/>
          </a:xfrm>
          <a:prstGeom prst="rect">
            <a:avLst/>
          </a:prstGeom>
        </p:spPr>
      </p:pic>
      <p:pic>
        <p:nvPicPr>
          <p:cNvPr id="30" name="Graphic 29" descr="Group brainstorm with solid fill">
            <a:hlinkClick r:id="" action="ppaction://noaction"/>
            <a:extLst>
              <a:ext uri="{FF2B5EF4-FFF2-40B4-BE49-F238E27FC236}">
                <a16:creationId xmlns:a16="http://schemas.microsoft.com/office/drawing/2014/main" id="{804CE65E-10C5-0743-5C00-6B6462A06141}"/>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591424" y="3700352"/>
            <a:ext cx="1151721" cy="1151721"/>
          </a:xfrm>
          <a:prstGeom prst="rect">
            <a:avLst/>
          </a:prstGeom>
        </p:spPr>
      </p:pic>
      <p:sp>
        <p:nvSpPr>
          <p:cNvPr id="3" name="TextBox 2">
            <a:extLst>
              <a:ext uri="{FF2B5EF4-FFF2-40B4-BE49-F238E27FC236}">
                <a16:creationId xmlns:a16="http://schemas.microsoft.com/office/drawing/2014/main" id="{4B35FB4C-B695-AE26-424C-A3936D9D2A5C}"/>
              </a:ext>
            </a:extLst>
          </p:cNvPr>
          <p:cNvSpPr txBox="1"/>
          <p:nvPr/>
        </p:nvSpPr>
        <p:spPr>
          <a:xfrm>
            <a:off x="0" y="435435"/>
            <a:ext cx="12192000" cy="707886"/>
          </a:xfrm>
          <a:prstGeom prst="rect">
            <a:avLst/>
          </a:prstGeom>
          <a:noFill/>
        </p:spPr>
        <p:txBody>
          <a:bodyPr wrap="square">
            <a:spAutoFit/>
          </a:bodyPr>
          <a:lstStyle/>
          <a:p>
            <a:pPr marL="0" lvl="0" indent="0" algn="ctr">
              <a:spcBef>
                <a:spcPts val="0"/>
              </a:spcBef>
              <a:spcAft>
                <a:spcPts val="0"/>
              </a:spcAft>
              <a:buNone/>
            </a:pPr>
            <a:r>
              <a:rPr lang="da-DK" sz="4000" b="1" dirty="0">
                <a:latin typeface="Amatic SC"/>
                <a:ea typeface="Amatic SC"/>
                <a:cs typeface="Amatic SC"/>
                <a:sym typeface="Amatic SC"/>
              </a:rPr>
              <a:t>Fem forslag til, hvordan I kan arbejde med resultaterne på jeres skole</a:t>
            </a:r>
          </a:p>
        </p:txBody>
      </p:sp>
      <p:pic>
        <p:nvPicPr>
          <p:cNvPr id="8" name="Graphic 7">
            <a:extLst>
              <a:ext uri="{FF2B5EF4-FFF2-40B4-BE49-F238E27FC236}">
                <a16:creationId xmlns:a16="http://schemas.microsoft.com/office/drawing/2014/main" id="{DFBC8100-E5DD-D13F-0653-02DEED976E6A}"/>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526182" y="2793904"/>
            <a:ext cx="2990850" cy="581025"/>
          </a:xfrm>
          <a:prstGeom prst="rect">
            <a:avLst/>
          </a:prstGeom>
        </p:spPr>
      </p:pic>
      <p:sp>
        <p:nvSpPr>
          <p:cNvPr id="9" name="TextBox 8">
            <a:extLst>
              <a:ext uri="{FF2B5EF4-FFF2-40B4-BE49-F238E27FC236}">
                <a16:creationId xmlns:a16="http://schemas.microsoft.com/office/drawing/2014/main" id="{DEC9A846-F9EE-A3F4-ECAA-41CB1B6BE37F}"/>
              </a:ext>
            </a:extLst>
          </p:cNvPr>
          <p:cNvSpPr txBox="1"/>
          <p:nvPr/>
        </p:nvSpPr>
        <p:spPr>
          <a:xfrm>
            <a:off x="4632498" y="289975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noAutofit/>
          </a:bodyPr>
          <a:lstStyle/>
          <a:p>
            <a:pPr algn="ctr"/>
            <a:r>
              <a:rPr lang="da-DK" sz="2400" b="1">
                <a:solidFill>
                  <a:schemeClr val="bg1"/>
                </a:solidFill>
                <a:latin typeface="Amatic SC" panose="00000500000000000000" pitchFamily="2" charset="-79"/>
                <a:cs typeface="Amatic SC" panose="00000500000000000000" pitchFamily="2" charset="-79"/>
                <a:hlinkClick r:id="" action="ppaction://noaction">
                  <a:extLst>
                    <a:ext uri="{A12FA001-AC4F-418D-AE19-62706E023703}">
                      <ahyp:hlinkClr xmlns:ahyp="http://schemas.microsoft.com/office/drawing/2018/hyperlinkcolor" val="tx"/>
                    </a:ext>
                  </a:extLst>
                </a:hlinkClick>
              </a:rPr>
              <a:t>Elevperspektiver</a:t>
            </a:r>
            <a:endParaRPr lang="da-DK" sz="2400" b="1">
              <a:solidFill>
                <a:schemeClr val="bg1"/>
              </a:solidFill>
              <a:latin typeface="Amatic SC" panose="00000500000000000000" pitchFamily="2" charset="-79"/>
              <a:cs typeface="Amatic SC" panose="00000500000000000000" pitchFamily="2" charset="-79"/>
            </a:endParaRPr>
          </a:p>
        </p:txBody>
      </p:sp>
      <p:pic>
        <p:nvPicPr>
          <p:cNvPr id="10" name="Graphic 9">
            <a:extLst>
              <a:ext uri="{FF2B5EF4-FFF2-40B4-BE49-F238E27FC236}">
                <a16:creationId xmlns:a16="http://schemas.microsoft.com/office/drawing/2014/main" id="{3920E2A0-DB02-A690-9804-A2C5D07C0A3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804275" y="2746145"/>
            <a:ext cx="2990850" cy="581025"/>
          </a:xfrm>
          <a:prstGeom prst="rect">
            <a:avLst/>
          </a:prstGeom>
        </p:spPr>
      </p:pic>
      <p:sp>
        <p:nvSpPr>
          <p:cNvPr id="37" name="TextBox 36">
            <a:extLst>
              <a:ext uri="{FF2B5EF4-FFF2-40B4-BE49-F238E27FC236}">
                <a16:creationId xmlns:a16="http://schemas.microsoft.com/office/drawing/2014/main" id="{9AEAC837-E003-6CF0-23CC-4F997E8E24F6}"/>
              </a:ext>
            </a:extLst>
          </p:cNvPr>
          <p:cNvSpPr txBox="1"/>
          <p:nvPr/>
        </p:nvSpPr>
        <p:spPr>
          <a:xfrm>
            <a:off x="8910591" y="2851991"/>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 action="ppaction://noaction">
                  <a:extLst>
                    <a:ext uri="{A12FA001-AC4F-418D-AE19-62706E023703}">
                      <ahyp:hlinkClr xmlns:ahyp="http://schemas.microsoft.com/office/drawing/2018/hyperlinkcolor" val="tx"/>
                    </a:ext>
                  </a:extLst>
                </a:hlinkClick>
              </a:rPr>
              <a:t>Børnesyn</a:t>
            </a:r>
            <a:endParaRPr lang="da-DK" sz="2400" b="1">
              <a:solidFill>
                <a:schemeClr val="bg1"/>
              </a:solidFill>
              <a:latin typeface="Amatic SC" panose="00000500000000000000" pitchFamily="2" charset="-79"/>
              <a:cs typeface="Amatic SC" panose="00000500000000000000" pitchFamily="2" charset="-79"/>
            </a:endParaRPr>
          </a:p>
        </p:txBody>
      </p:sp>
      <p:pic>
        <p:nvPicPr>
          <p:cNvPr id="11" name="Graphic 10">
            <a:extLst>
              <a:ext uri="{FF2B5EF4-FFF2-40B4-BE49-F238E27FC236}">
                <a16:creationId xmlns:a16="http://schemas.microsoft.com/office/drawing/2014/main" id="{B3F7FDD5-BD04-F10E-7B1C-E3AC61BF48D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503191" y="2793904"/>
            <a:ext cx="2990850" cy="581025"/>
          </a:xfrm>
          <a:prstGeom prst="rect">
            <a:avLst/>
          </a:prstGeom>
        </p:spPr>
      </p:pic>
      <p:sp>
        <p:nvSpPr>
          <p:cNvPr id="35" name="TextBox 34">
            <a:extLst>
              <a:ext uri="{FF2B5EF4-FFF2-40B4-BE49-F238E27FC236}">
                <a16:creationId xmlns:a16="http://schemas.microsoft.com/office/drawing/2014/main" id="{BD80DA7B-C6EE-05D9-E0A1-401CF99F0282}"/>
              </a:ext>
            </a:extLst>
          </p:cNvPr>
          <p:cNvSpPr txBox="1"/>
          <p:nvPr/>
        </p:nvSpPr>
        <p:spPr>
          <a:xfrm>
            <a:off x="632598" y="289975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 action="ppaction://noaction">
                  <a:extLst>
                    <a:ext uri="{A12FA001-AC4F-418D-AE19-62706E023703}">
                      <ahyp:hlinkClr xmlns:ahyp="http://schemas.microsoft.com/office/drawing/2018/hyperlinkcolor" val="tx"/>
                    </a:ext>
                  </a:extLst>
                </a:hlinkClick>
              </a:rPr>
              <a:t>Refleksionsspørgsmål</a:t>
            </a:r>
            <a:endParaRPr lang="da-DK" sz="2400" b="1">
              <a:solidFill>
                <a:schemeClr val="bg1"/>
              </a:solidFill>
              <a:latin typeface="Amatic SC" panose="00000500000000000000" pitchFamily="2" charset="-79"/>
              <a:cs typeface="Amatic SC" panose="00000500000000000000" pitchFamily="2" charset="-79"/>
            </a:endParaRPr>
          </a:p>
        </p:txBody>
      </p:sp>
      <p:pic>
        <p:nvPicPr>
          <p:cNvPr id="12" name="Graphic 11">
            <a:extLst>
              <a:ext uri="{FF2B5EF4-FFF2-40B4-BE49-F238E27FC236}">
                <a16:creationId xmlns:a16="http://schemas.microsoft.com/office/drawing/2014/main" id="{C463E779-6F3D-1C79-37A4-92F29D3B224B}"/>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207759" y="4852075"/>
            <a:ext cx="2990850" cy="581025"/>
          </a:xfrm>
          <a:prstGeom prst="rect">
            <a:avLst/>
          </a:prstGeom>
        </p:spPr>
      </p:pic>
      <p:sp>
        <p:nvSpPr>
          <p:cNvPr id="38" name="TextBox 37">
            <a:extLst>
              <a:ext uri="{FF2B5EF4-FFF2-40B4-BE49-F238E27FC236}">
                <a16:creationId xmlns:a16="http://schemas.microsoft.com/office/drawing/2014/main" id="{6AC7BF13-FDAE-9322-9B76-7F8282895BB7}"/>
              </a:ext>
            </a:extLst>
          </p:cNvPr>
          <p:cNvSpPr txBox="1"/>
          <p:nvPr/>
        </p:nvSpPr>
        <p:spPr>
          <a:xfrm>
            <a:off x="2318290" y="4963877"/>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 action="ppaction://noaction">
                  <a:extLst>
                    <a:ext uri="{A12FA001-AC4F-418D-AE19-62706E023703}">
                      <ahyp:hlinkClr xmlns:ahyp="http://schemas.microsoft.com/office/drawing/2018/hyperlinkcolor" val="tx"/>
                    </a:ext>
                  </a:extLst>
                </a:hlinkClick>
              </a:rPr>
              <a:t>Aktiv lytning og drøftelser</a:t>
            </a:r>
            <a:endParaRPr lang="da-DK" sz="2400" b="1">
              <a:solidFill>
                <a:schemeClr val="bg1"/>
              </a:solidFill>
              <a:latin typeface="Amatic SC" panose="00000500000000000000" pitchFamily="2" charset="-79"/>
              <a:cs typeface="Amatic SC" panose="00000500000000000000" pitchFamily="2" charset="-79"/>
            </a:endParaRPr>
          </a:p>
        </p:txBody>
      </p:sp>
      <p:pic>
        <p:nvPicPr>
          <p:cNvPr id="13" name="Graphic 12">
            <a:extLst>
              <a:ext uri="{FF2B5EF4-FFF2-40B4-BE49-F238E27FC236}">
                <a16:creationId xmlns:a16="http://schemas.microsoft.com/office/drawing/2014/main" id="{0442E48F-A9E7-3689-7C84-9A0275BABFA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6671860" y="4852074"/>
            <a:ext cx="2990850" cy="581025"/>
          </a:xfrm>
          <a:prstGeom prst="rect">
            <a:avLst/>
          </a:prstGeom>
        </p:spPr>
      </p:pic>
      <p:sp>
        <p:nvSpPr>
          <p:cNvPr id="39" name="TextBox 38">
            <a:extLst>
              <a:ext uri="{FF2B5EF4-FFF2-40B4-BE49-F238E27FC236}">
                <a16:creationId xmlns:a16="http://schemas.microsoft.com/office/drawing/2014/main" id="{955F9B66-BD1A-D710-6D4F-CE71A4A8FB71}"/>
              </a:ext>
            </a:extLst>
          </p:cNvPr>
          <p:cNvSpPr txBox="1"/>
          <p:nvPr/>
        </p:nvSpPr>
        <p:spPr>
          <a:xfrm>
            <a:off x="6778176" y="4957920"/>
            <a:ext cx="2778218" cy="369332"/>
          </a:xfrm>
          <a:custGeom>
            <a:avLst/>
            <a:gdLst>
              <a:gd name="connsiteX0" fmla="*/ 0 w 2778218"/>
              <a:gd name="connsiteY0" fmla="*/ 0 h 369332"/>
              <a:gd name="connsiteX1" fmla="*/ 666772 w 2778218"/>
              <a:gd name="connsiteY1" fmla="*/ 0 h 369332"/>
              <a:gd name="connsiteX2" fmla="*/ 1277980 w 2778218"/>
              <a:gd name="connsiteY2" fmla="*/ 0 h 369332"/>
              <a:gd name="connsiteX3" fmla="*/ 2028099 w 2778218"/>
              <a:gd name="connsiteY3" fmla="*/ 0 h 369332"/>
              <a:gd name="connsiteX4" fmla="*/ 2778218 w 2778218"/>
              <a:gd name="connsiteY4" fmla="*/ 0 h 369332"/>
              <a:gd name="connsiteX5" fmla="*/ 2778218 w 2778218"/>
              <a:gd name="connsiteY5" fmla="*/ 369332 h 369332"/>
              <a:gd name="connsiteX6" fmla="*/ 2139228 w 2778218"/>
              <a:gd name="connsiteY6" fmla="*/ 369332 h 369332"/>
              <a:gd name="connsiteX7" fmla="*/ 1500238 w 2778218"/>
              <a:gd name="connsiteY7" fmla="*/ 369332 h 369332"/>
              <a:gd name="connsiteX8" fmla="*/ 750119 w 2778218"/>
              <a:gd name="connsiteY8" fmla="*/ 369332 h 369332"/>
              <a:gd name="connsiteX9" fmla="*/ 0 w 2778218"/>
              <a:gd name="connsiteY9" fmla="*/ 369332 h 369332"/>
              <a:gd name="connsiteX10" fmla="*/ 0 w 2778218"/>
              <a:gd name="connsiteY10" fmla="*/ 0 h 369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8218" h="369332" extrusionOk="0">
                <a:moveTo>
                  <a:pt x="0" y="0"/>
                </a:moveTo>
                <a:cubicBezTo>
                  <a:pt x="278673" y="2230"/>
                  <a:pt x="415664" y="18877"/>
                  <a:pt x="666772" y="0"/>
                </a:cubicBezTo>
                <a:cubicBezTo>
                  <a:pt x="917880" y="-18877"/>
                  <a:pt x="1044409" y="-15068"/>
                  <a:pt x="1277980" y="0"/>
                </a:cubicBezTo>
                <a:cubicBezTo>
                  <a:pt x="1511551" y="15068"/>
                  <a:pt x="1668806" y="34345"/>
                  <a:pt x="2028099" y="0"/>
                </a:cubicBezTo>
                <a:cubicBezTo>
                  <a:pt x="2387392" y="-34345"/>
                  <a:pt x="2577050" y="617"/>
                  <a:pt x="2778218" y="0"/>
                </a:cubicBezTo>
                <a:cubicBezTo>
                  <a:pt x="2795324" y="91456"/>
                  <a:pt x="2796377" y="211595"/>
                  <a:pt x="2778218" y="369332"/>
                </a:cubicBezTo>
                <a:cubicBezTo>
                  <a:pt x="2550053" y="390950"/>
                  <a:pt x="2421986" y="373777"/>
                  <a:pt x="2139228" y="369332"/>
                </a:cubicBezTo>
                <a:cubicBezTo>
                  <a:pt x="1856470" y="364888"/>
                  <a:pt x="1730914" y="363159"/>
                  <a:pt x="1500238" y="369332"/>
                </a:cubicBezTo>
                <a:cubicBezTo>
                  <a:pt x="1269562" y="375506"/>
                  <a:pt x="991214" y="345799"/>
                  <a:pt x="750119" y="369332"/>
                </a:cubicBezTo>
                <a:cubicBezTo>
                  <a:pt x="509024" y="392865"/>
                  <a:pt x="365521" y="396878"/>
                  <a:pt x="0" y="369332"/>
                </a:cubicBezTo>
                <a:cubicBezTo>
                  <a:pt x="11387" y="231265"/>
                  <a:pt x="-12011" y="175783"/>
                  <a:pt x="0" y="0"/>
                </a:cubicBezTo>
                <a:close/>
              </a:path>
            </a:pathLst>
          </a:custGeom>
          <a:noFill/>
          <a:ln>
            <a:noFill/>
            <a:prstDash val="soli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a:r>
              <a:rPr lang="da-DK" sz="2400" b="1">
                <a:solidFill>
                  <a:schemeClr val="bg1"/>
                </a:solidFill>
                <a:latin typeface="Amatic SC" panose="00000500000000000000" pitchFamily="2" charset="-79"/>
                <a:cs typeface="Amatic SC" panose="00000500000000000000" pitchFamily="2" charset="-79"/>
                <a:hlinkClick r:id="" action="ppaction://noaction">
                  <a:extLst>
                    <a:ext uri="{A12FA001-AC4F-418D-AE19-62706E023703}">
                      <ahyp:hlinkClr xmlns:ahyp="http://schemas.microsoft.com/office/drawing/2018/hyperlinkcolor" val="tx"/>
                    </a:ext>
                  </a:extLst>
                </a:hlinkClick>
              </a:rPr>
              <a:t>prøvehandlinger</a:t>
            </a:r>
            <a:endParaRPr lang="da-DK" sz="2400" b="1">
              <a:solidFill>
                <a:schemeClr val="bg1"/>
              </a:solidFill>
              <a:latin typeface="Amatic SC" panose="00000500000000000000" pitchFamily="2" charset="-79"/>
              <a:cs typeface="Amatic SC" panose="00000500000000000000" pitchFamily="2" charset="-79"/>
            </a:endParaRPr>
          </a:p>
        </p:txBody>
      </p:sp>
    </p:spTree>
    <p:extLst>
      <p:ext uri="{BB962C8B-B14F-4D97-AF65-F5344CB8AC3E}">
        <p14:creationId xmlns:p14="http://schemas.microsoft.com/office/powerpoint/2010/main" val="798816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Graphic 30">
            <a:extLst>
              <a:ext uri="{FF2B5EF4-FFF2-40B4-BE49-F238E27FC236}">
                <a16:creationId xmlns:a16="http://schemas.microsoft.com/office/drawing/2014/main" id="{5425E73C-AF5D-EC62-44C0-5C4CD6C116B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0824" y="1770370"/>
            <a:ext cx="3698360" cy="2607229"/>
          </a:xfrm>
          <a:prstGeom prst="rect">
            <a:avLst/>
          </a:prstGeom>
        </p:spPr>
      </p:pic>
      <p:sp>
        <p:nvSpPr>
          <p:cNvPr id="14" name="Rectangle 13">
            <a:extLst>
              <a:ext uri="{FF2B5EF4-FFF2-40B4-BE49-F238E27FC236}">
                <a16:creationId xmlns:a16="http://schemas.microsoft.com/office/drawing/2014/main" id="{4AF3D927-A3F0-9E3C-F192-91785C769B85}"/>
              </a:ext>
            </a:extLst>
          </p:cNvPr>
          <p:cNvSpPr/>
          <p:nvPr/>
        </p:nvSpPr>
        <p:spPr>
          <a:xfrm>
            <a:off x="8556648" y="2769409"/>
            <a:ext cx="2734109" cy="11373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da-DK" sz="1200" b="1" dirty="0">
                <a:solidFill>
                  <a:schemeClr val="bg1"/>
                </a:solidFill>
                <a:latin typeface="Quicksand" panose="020B0604020202020204"/>
              </a:rPr>
              <a:t>Tip:</a:t>
            </a:r>
            <a:br>
              <a:rPr lang="da-DK" sz="1200" b="1" dirty="0">
                <a:solidFill>
                  <a:schemeClr val="bg1"/>
                </a:solidFill>
                <a:latin typeface="Quicksand" panose="020B0604020202020204"/>
              </a:rPr>
            </a:br>
            <a:r>
              <a:rPr lang="da-DK" sz="1200" dirty="0">
                <a:solidFill>
                  <a:schemeClr val="bg1"/>
                </a:solidFill>
                <a:latin typeface="Quicksand" panose="020B0604020202020204"/>
              </a:rPr>
              <a:t>I arbejdet med refleksionsspørgsmål</a:t>
            </a:r>
            <a:br>
              <a:rPr lang="da-DK" sz="1200" dirty="0">
                <a:solidFill>
                  <a:schemeClr val="bg1"/>
                </a:solidFill>
                <a:latin typeface="Quicksand" panose="020B0604020202020204"/>
              </a:rPr>
            </a:br>
            <a:r>
              <a:rPr lang="da-DK" sz="1200" dirty="0">
                <a:solidFill>
                  <a:schemeClr val="bg1"/>
                </a:solidFill>
                <a:latin typeface="Quicksand" panose="020B0604020202020204"/>
              </a:rPr>
              <a:t>kan I med fordel inddrage jeres lokale skolerapport. </a:t>
            </a:r>
          </a:p>
          <a:p>
            <a:pPr algn="ctr"/>
            <a:r>
              <a:rPr lang="da-DK" sz="1200" dirty="0">
                <a:solidFill>
                  <a:schemeClr val="bg1"/>
                </a:solidFill>
                <a:latin typeface="Quicksand" panose="020B0604020202020204"/>
              </a:rPr>
              <a:t>Under refleksionsspørgsmålene fremgår det, hvilke data der er relevante at sammenholde med.</a:t>
            </a:r>
          </a:p>
        </p:txBody>
      </p:sp>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3</a:t>
            </a:fld>
            <a:endParaRPr lang="da-DK"/>
          </a:p>
        </p:txBody>
      </p:sp>
      <p:sp>
        <p:nvSpPr>
          <p:cNvPr id="19" name="Google Shape;843;p29">
            <a:extLst>
              <a:ext uri="{FF2B5EF4-FFF2-40B4-BE49-F238E27FC236}">
                <a16:creationId xmlns:a16="http://schemas.microsoft.com/office/drawing/2014/main" id="{63F687D6-3A0C-49E8-8309-51383D3FACDF}"/>
              </a:ext>
            </a:extLst>
          </p:cNvPr>
          <p:cNvSpPr/>
          <p:nvPr/>
        </p:nvSpPr>
        <p:spPr>
          <a:xfrm>
            <a:off x="0" y="347492"/>
            <a:ext cx="12191999" cy="856994"/>
          </a:xfrm>
          <a:prstGeom prst="rect">
            <a:avLst/>
          </a:prstGeom>
          <a:solidFill>
            <a:schemeClr val="accent2"/>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2400" b="1">
                <a:solidFill>
                  <a:schemeClr val="bg1"/>
                </a:solidFill>
                <a:latin typeface="Amatic SC"/>
                <a:ea typeface="Amatic SC"/>
                <a:cs typeface="Amatic SC"/>
                <a:sym typeface="Amatic SC"/>
              </a:rPr>
              <a:t>	</a:t>
            </a:r>
            <a:r>
              <a:rPr lang="da-DK" sz="4000" b="1">
                <a:solidFill>
                  <a:schemeClr val="bg1"/>
                </a:solidFill>
                <a:latin typeface="Amatic SC"/>
                <a:ea typeface="Amatic SC"/>
                <a:cs typeface="Amatic SC"/>
                <a:sym typeface="Amatic SC"/>
              </a:rPr>
              <a:t>Refleksionsspørgsmål</a:t>
            </a:r>
            <a:r>
              <a:rPr lang="da-DK" sz="3600" b="1">
                <a:solidFill>
                  <a:schemeClr val="bg1"/>
                </a:solidFill>
                <a:latin typeface="Amatic SC"/>
                <a:ea typeface="Amatic SC"/>
                <a:cs typeface="Amatic SC"/>
                <a:sym typeface="Amatic SC"/>
              </a:rPr>
              <a:t> </a:t>
            </a:r>
            <a:endParaRPr lang="da-DK" sz="2400" b="1">
              <a:solidFill>
                <a:schemeClr val="bg1"/>
              </a:solidFill>
              <a:latin typeface="Amatic SC"/>
              <a:ea typeface="Amatic SC"/>
              <a:cs typeface="Amatic SC"/>
              <a:sym typeface="Amatic SC"/>
            </a:endParaRPr>
          </a:p>
        </p:txBody>
      </p:sp>
      <p:pic>
        <p:nvPicPr>
          <p:cNvPr id="3" name="Graphic 2" descr="Thought bubble with solid fill">
            <a:extLst>
              <a:ext uri="{FF2B5EF4-FFF2-40B4-BE49-F238E27FC236}">
                <a16:creationId xmlns:a16="http://schemas.microsoft.com/office/drawing/2014/main" id="{64B5FDDB-400C-2B77-0E53-4B231CFF6B8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014652" y="286718"/>
            <a:ext cx="917768" cy="917768"/>
          </a:xfrm>
          <a:prstGeom prst="rect">
            <a:avLst/>
          </a:prstGeom>
        </p:spPr>
      </p:pic>
      <p:sp>
        <p:nvSpPr>
          <p:cNvPr id="10" name="Google Shape;847;p29">
            <a:extLst>
              <a:ext uri="{FF2B5EF4-FFF2-40B4-BE49-F238E27FC236}">
                <a16:creationId xmlns:a16="http://schemas.microsoft.com/office/drawing/2014/main" id="{CA6CEC05-D2DA-61EE-A665-32747A49023C}"/>
              </a:ext>
            </a:extLst>
          </p:cNvPr>
          <p:cNvSpPr txBox="1"/>
          <p:nvPr/>
        </p:nvSpPr>
        <p:spPr>
          <a:xfrm>
            <a:off x="901243" y="1682072"/>
            <a:ext cx="6827773" cy="3903662"/>
          </a:xfrm>
          <a:prstGeom prst="rect">
            <a:avLst/>
          </a:prstGeom>
          <a:noFill/>
          <a:ln>
            <a:noFill/>
          </a:ln>
        </p:spPr>
        <p:txBody>
          <a:bodyPr spcFirstLastPara="1" wrap="square" lIns="0" tIns="180000" rIns="0" bIns="0" anchor="t" anchorCtr="0">
            <a:noAutofit/>
          </a:bodyPr>
          <a:lstStyle/>
          <a:p>
            <a:r>
              <a:rPr lang="da-DK" sz="2200" b="1" dirty="0">
                <a:latin typeface="Amatic SC"/>
                <a:cs typeface="Amatic SC"/>
                <a:sym typeface="Quicksand"/>
              </a:rPr>
              <a:t>Forslag til proces: </a:t>
            </a:r>
          </a:p>
          <a:p>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Pædagogisk personale sætter sig i det team, de primært arbejder i, og ledelsen præsenterer resultaterne for et af de fire temaer. </a:t>
            </a:r>
          </a:p>
          <a:p>
            <a:pPr lvl="1"/>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Efter præsentationen af et tema drøfter pædagogisk personale refleksionsspørgsmålene til det givne tema i deres teams (refleksionsspørgsmål fremgår i forlængelse af dette slide). </a:t>
            </a:r>
          </a:p>
          <a:p>
            <a:pPr lvl="1"/>
            <a:endParaRPr lang="da-DK" sz="1500" dirty="0">
              <a:latin typeface="Quicksand" panose="020B0604020202020204" charset="0"/>
              <a:ea typeface="Quicksand"/>
              <a:cs typeface="Quicksand" panose="020B0604020202020204" charset="0"/>
              <a:sym typeface="Quicksand"/>
            </a:endParaRPr>
          </a:p>
          <a:p>
            <a:pPr lvl="1"/>
            <a:r>
              <a:rPr lang="da-DK" sz="1500" dirty="0">
                <a:latin typeface="Quicksand" panose="020B0604020202020204" charset="0"/>
                <a:ea typeface="Quicksand"/>
                <a:cs typeface="Quicksand" panose="020B0604020202020204" charset="0"/>
                <a:sym typeface="Quicksand"/>
              </a:rPr>
              <a:t>Efter drøftelserne præsenterer alle teams deres refleksioner i plenum på tværs af alt pædagogisk personale. Find med afsæt i jeres drøftelser ud af, hvad jeres næste skridt i arbejdet med Den Mangfoldige Folkeskole skal være.</a:t>
            </a:r>
          </a:p>
          <a:p>
            <a:endParaRPr lang="da-DK" sz="1600" dirty="0">
              <a:latin typeface="Quicksand" panose="020B0604020202020204" charset="0"/>
              <a:ea typeface="Quicksand"/>
              <a:cs typeface="Quicksand" panose="020B0604020202020204" charset="0"/>
              <a:sym typeface="Quicksand"/>
            </a:endParaRPr>
          </a:p>
          <a:p>
            <a:pPr lvl="0" algn="l">
              <a:lnSpc>
                <a:spcPct val="150000"/>
              </a:lnSpc>
              <a:spcBef>
                <a:spcPts val="0"/>
              </a:spcBef>
              <a:spcAft>
                <a:spcPts val="0"/>
              </a:spcAft>
            </a:pPr>
            <a:endParaRPr lang="da-DK" sz="1600" dirty="0">
              <a:latin typeface="Quicksand"/>
              <a:ea typeface="Quicksand"/>
              <a:cs typeface="Quicksand"/>
              <a:sym typeface="Quicksand"/>
            </a:endParaRPr>
          </a:p>
          <a:p>
            <a:pPr lvl="0" algn="l">
              <a:lnSpc>
                <a:spcPct val="150000"/>
              </a:lnSpc>
              <a:spcBef>
                <a:spcPts val="0"/>
              </a:spcBef>
              <a:spcAft>
                <a:spcPts val="0"/>
              </a:spcAft>
            </a:pPr>
            <a:endParaRPr lang="da-DK" dirty="0">
              <a:latin typeface="Quicksand"/>
              <a:ea typeface="Quicksand"/>
              <a:cs typeface="Quicksand"/>
              <a:sym typeface="Quicksand"/>
            </a:endParaRPr>
          </a:p>
        </p:txBody>
      </p:sp>
      <p:sp>
        <p:nvSpPr>
          <p:cNvPr id="12" name="Oval 11">
            <a:extLst>
              <a:ext uri="{FF2B5EF4-FFF2-40B4-BE49-F238E27FC236}">
                <a16:creationId xmlns:a16="http://schemas.microsoft.com/office/drawing/2014/main" id="{323C242C-0FC5-9F5E-2C8D-1924D1D55E4B}"/>
              </a:ext>
            </a:extLst>
          </p:cNvPr>
          <p:cNvSpPr/>
          <p:nvPr/>
        </p:nvSpPr>
        <p:spPr>
          <a:xfrm>
            <a:off x="901242" y="2412080"/>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13" name="Oval 12">
            <a:extLst>
              <a:ext uri="{FF2B5EF4-FFF2-40B4-BE49-F238E27FC236}">
                <a16:creationId xmlns:a16="http://schemas.microsoft.com/office/drawing/2014/main" id="{145D81BE-66B4-DB6E-737C-192DBFE5CC49}"/>
              </a:ext>
            </a:extLst>
          </p:cNvPr>
          <p:cNvSpPr/>
          <p:nvPr/>
        </p:nvSpPr>
        <p:spPr>
          <a:xfrm>
            <a:off x="901242" y="3102526"/>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6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5" name="Oval 14">
            <a:extLst>
              <a:ext uri="{FF2B5EF4-FFF2-40B4-BE49-F238E27FC236}">
                <a16:creationId xmlns:a16="http://schemas.microsoft.com/office/drawing/2014/main" id="{D747DB3D-7328-5E6E-2FB1-4994E88E06CE}"/>
              </a:ext>
            </a:extLst>
          </p:cNvPr>
          <p:cNvSpPr/>
          <p:nvPr/>
        </p:nvSpPr>
        <p:spPr>
          <a:xfrm>
            <a:off x="901242" y="3974409"/>
            <a:ext cx="345600" cy="34544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30" name="Google Shape;1251;p48">
            <a:extLst>
              <a:ext uri="{FF2B5EF4-FFF2-40B4-BE49-F238E27FC236}">
                <a16:creationId xmlns:a16="http://schemas.microsoft.com/office/drawing/2014/main" id="{D0FEC8B4-1132-0DCA-DF25-AC0E5D5DFD1C}"/>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192005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4</a:t>
            </a:fld>
            <a:endParaRPr lang="da-DK"/>
          </a:p>
        </p:txBody>
      </p:sp>
      <p:sp>
        <p:nvSpPr>
          <p:cNvPr id="2" name="Rectangle 1">
            <a:extLst>
              <a:ext uri="{FF2B5EF4-FFF2-40B4-BE49-F238E27FC236}">
                <a16:creationId xmlns:a16="http://schemas.microsoft.com/office/drawing/2014/main" id="{3BC97B6A-32D1-29B0-934F-1034BC12DC24}"/>
              </a:ext>
            </a:extLst>
          </p:cNvPr>
          <p:cNvSpPr/>
          <p:nvPr/>
        </p:nvSpPr>
        <p:spPr>
          <a:xfrm rot="1069853">
            <a:off x="4755934" y="2623443"/>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400"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udfordrer elevernes perspektiver vores opfattelse af forandringen i læringsmiljøet?</a:t>
            </a:r>
          </a:p>
        </p:txBody>
      </p:sp>
      <p:pic>
        <p:nvPicPr>
          <p:cNvPr id="6" name="Graphic 5" descr="Paperclip with solid fill">
            <a:extLst>
              <a:ext uri="{FF2B5EF4-FFF2-40B4-BE49-F238E27FC236}">
                <a16:creationId xmlns:a16="http://schemas.microsoft.com/office/drawing/2014/main" id="{F02DD254-3E7E-85BD-8E45-B9D602CC7F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125389" y="2192896"/>
            <a:ext cx="914400" cy="914400"/>
          </a:xfrm>
          <a:prstGeom prst="rect">
            <a:avLst/>
          </a:prstGeom>
        </p:spPr>
      </p:pic>
      <p:sp>
        <p:nvSpPr>
          <p:cNvPr id="7" name="Rectangle 6">
            <a:extLst>
              <a:ext uri="{FF2B5EF4-FFF2-40B4-BE49-F238E27FC236}">
                <a16:creationId xmlns:a16="http://schemas.microsoft.com/office/drawing/2014/main" id="{04157946-5611-8C4B-3ED0-4026199785C4}"/>
              </a:ext>
            </a:extLst>
          </p:cNvPr>
          <p:cNvSpPr/>
          <p:nvPr/>
        </p:nvSpPr>
        <p:spPr>
          <a:xfrm rot="437979">
            <a:off x="8325621" y="2288299"/>
            <a:ext cx="3241247" cy="293371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dirty="0">
              <a:solidFill>
                <a:srgbClr val="273F68"/>
              </a:solidFill>
              <a:latin typeface="Amatic SC" panose="00000500000000000000" pitchFamily="2" charset="-79"/>
              <a:cs typeface="Amatic SC" panose="00000500000000000000" pitchFamily="2" charset="-79"/>
            </a:endParaRPr>
          </a:p>
          <a:p>
            <a:pPr algn="ctr"/>
            <a:endParaRPr lang="da-DK" sz="2200" b="1"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kan vi i højere grad inddrage eleverne i evaluering</a:t>
            </a:r>
            <a:br>
              <a:rPr lang="da-DK" sz="2400" b="1" dirty="0">
                <a:solidFill>
                  <a:srgbClr val="273F68"/>
                </a:solidFill>
                <a:latin typeface="Amatic SC" panose="00000500000000000000" pitchFamily="2" charset="-79"/>
                <a:cs typeface="Amatic SC" panose="00000500000000000000" pitchFamily="2" charset="-79"/>
              </a:rPr>
            </a:br>
            <a:r>
              <a:rPr lang="da-DK" sz="2400" b="1" dirty="0">
                <a:solidFill>
                  <a:srgbClr val="273F68"/>
                </a:solidFill>
                <a:latin typeface="Amatic SC" panose="00000500000000000000" pitchFamily="2" charset="-79"/>
                <a:cs typeface="Amatic SC" panose="00000500000000000000" pitchFamily="2" charset="-79"/>
              </a:rPr>
              <a:t>af undervisningen? </a:t>
            </a:r>
          </a:p>
        </p:txBody>
      </p:sp>
      <p:sp>
        <p:nvSpPr>
          <p:cNvPr id="8" name="Rectangle 7">
            <a:extLst>
              <a:ext uri="{FF2B5EF4-FFF2-40B4-BE49-F238E27FC236}">
                <a16:creationId xmlns:a16="http://schemas.microsoft.com/office/drawing/2014/main" id="{8BDAA3FF-59CD-C6F5-F701-342B5E4445E1}"/>
              </a:ext>
            </a:extLst>
          </p:cNvPr>
          <p:cNvSpPr/>
          <p:nvPr/>
        </p:nvSpPr>
        <p:spPr>
          <a:xfrm rot="20942225">
            <a:off x="1206122" y="2176612"/>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ordan harmonerer elevernes perspektiver med vores opfattelse af </a:t>
            </a:r>
            <a:r>
              <a:rPr lang="da-DK" sz="2400" b="1">
                <a:solidFill>
                  <a:srgbClr val="273F68"/>
                </a:solidFill>
                <a:latin typeface="Amatic SC" panose="00000500000000000000" pitchFamily="2" charset="-79"/>
                <a:cs typeface="Amatic SC" panose="00000500000000000000" pitchFamily="2" charset="-79"/>
              </a:rPr>
              <a:t>af forandringen i læringsmiljøet</a:t>
            </a:r>
            <a:r>
              <a:rPr lang="da-DK" sz="2400" b="1" noProof="0">
                <a:solidFill>
                  <a:srgbClr val="273F68"/>
                </a:solidFill>
                <a:latin typeface="Amatic SC" panose="00000500000000000000" pitchFamily="2" charset="-79"/>
                <a:cs typeface="Amatic SC" panose="00000500000000000000" pitchFamily="2" charset="-79"/>
              </a:rPr>
              <a:t>?</a:t>
            </a:r>
          </a:p>
        </p:txBody>
      </p:sp>
      <p:pic>
        <p:nvPicPr>
          <p:cNvPr id="3" name="Graphic 2" descr="Paperclip with solid fill">
            <a:extLst>
              <a:ext uri="{FF2B5EF4-FFF2-40B4-BE49-F238E27FC236}">
                <a16:creationId xmlns:a16="http://schemas.microsoft.com/office/drawing/2014/main" id="{AE2E047D-1D57-0D37-261A-11AA26C96E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4" y="1685471"/>
            <a:ext cx="914400" cy="914400"/>
          </a:xfrm>
          <a:prstGeom prst="rect">
            <a:avLst/>
          </a:prstGeom>
        </p:spPr>
      </p:pic>
      <p:pic>
        <p:nvPicPr>
          <p:cNvPr id="11" name="Graphic 10" descr="Paperclip with solid fill">
            <a:extLst>
              <a:ext uri="{FF2B5EF4-FFF2-40B4-BE49-F238E27FC236}">
                <a16:creationId xmlns:a16="http://schemas.microsoft.com/office/drawing/2014/main" id="{8DE18BA0-F733-5E42-FE31-5C354263EA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764350"/>
            <a:ext cx="914400" cy="914400"/>
          </a:xfrm>
          <a:prstGeom prst="rect">
            <a:avLst/>
          </a:prstGeom>
        </p:spPr>
      </p:pic>
      <p:sp>
        <p:nvSpPr>
          <p:cNvPr id="9" name="Google Shape;846;p29">
            <a:extLst>
              <a:ext uri="{FF2B5EF4-FFF2-40B4-BE49-F238E27FC236}">
                <a16:creationId xmlns:a16="http://schemas.microsoft.com/office/drawing/2014/main" id="{D5AB984A-077C-4E70-2588-8E9D40C40B33}"/>
              </a:ext>
            </a:extLst>
          </p:cNvPr>
          <p:cNvSpPr/>
          <p:nvPr/>
        </p:nvSpPr>
        <p:spPr>
          <a:xfrm>
            <a:off x="0" y="346507"/>
            <a:ext cx="12192001" cy="854281"/>
          </a:xfrm>
          <a:prstGeom prst="rect">
            <a:avLst/>
          </a:prstGeom>
          <a:solidFill>
            <a:schemeClr val="tx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Refleksionsspørgsmål – Elevernes perspektiver</a:t>
            </a:r>
          </a:p>
        </p:txBody>
      </p:sp>
      <p:sp>
        <p:nvSpPr>
          <p:cNvPr id="10" name="TextBox 9">
            <a:extLst>
              <a:ext uri="{FF2B5EF4-FFF2-40B4-BE49-F238E27FC236}">
                <a16:creationId xmlns:a16="http://schemas.microsoft.com/office/drawing/2014/main" id="{7619D784-5190-2DA2-225B-81BF53095744}"/>
              </a:ext>
            </a:extLst>
          </p:cNvPr>
          <p:cNvSpPr txBox="1"/>
          <p:nvPr/>
        </p:nvSpPr>
        <p:spPr>
          <a:xfrm>
            <a:off x="1060425" y="5752072"/>
            <a:ext cx="10772775" cy="123111"/>
          </a:xfrm>
          <a:prstGeom prst="rect">
            <a:avLst/>
          </a:prstGeom>
          <a:noFill/>
        </p:spPr>
        <p:txBody>
          <a:bodyPr wrap="square" lIns="0" tIns="0" rIns="0" bIns="0" rtlCol="0">
            <a:spAutoFit/>
          </a:bodyPr>
          <a:lstStyle/>
          <a:p>
            <a:r>
              <a:rPr lang="da-DK" sz="800" dirty="0">
                <a:latin typeface="Quicksand" panose="020B0604020202020204"/>
              </a:rPr>
              <a:t>*I kan med fordel inddrage og perspektivere til skolens resultater i skolerapporten </a:t>
            </a:r>
            <a:r>
              <a:rPr lang="da-DK" sz="800" dirty="0">
                <a:solidFill>
                  <a:schemeClr val="tx1"/>
                </a:solidFill>
                <a:latin typeface="Quicksand" panose="020B0604020202020204" charset="0"/>
                <a:ea typeface="Quicksand"/>
                <a:cs typeface="Quicksand" panose="020B0604020202020204" charset="0"/>
                <a:sym typeface="Quicksand"/>
              </a:rPr>
              <a:t>under temaet ‘Inddragelse af elevernes perspektiver’. </a:t>
            </a:r>
            <a:endParaRPr lang="da-DK" sz="800" dirty="0">
              <a:latin typeface="Quicksand" panose="020B0604020202020204"/>
            </a:endParaRPr>
          </a:p>
        </p:txBody>
      </p:sp>
    </p:spTree>
    <p:extLst>
      <p:ext uri="{BB962C8B-B14F-4D97-AF65-F5344CB8AC3E}">
        <p14:creationId xmlns:p14="http://schemas.microsoft.com/office/powerpoint/2010/main" val="17516344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5</a:t>
            </a:fld>
            <a:endParaRPr lang="da-DK"/>
          </a:p>
        </p:txBody>
      </p:sp>
      <p:sp>
        <p:nvSpPr>
          <p:cNvPr id="2" name="Rectangle 1">
            <a:extLst>
              <a:ext uri="{FF2B5EF4-FFF2-40B4-BE49-F238E27FC236}">
                <a16:creationId xmlns:a16="http://schemas.microsoft.com/office/drawing/2014/main" id="{3BC97B6A-32D1-29B0-934F-1034BC12DC24}"/>
              </a:ext>
            </a:extLst>
          </p:cNvPr>
          <p:cNvSpPr/>
          <p:nvPr/>
        </p:nvSpPr>
        <p:spPr>
          <a:xfrm rot="1069853">
            <a:off x="4763556" y="2891775"/>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400"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har vi indtil nu fulgt op på effekten af vores prøvehandlinger, og</a:t>
            </a:r>
            <a:br>
              <a:rPr lang="da-DK" sz="2400" b="1" dirty="0">
                <a:solidFill>
                  <a:srgbClr val="273F68"/>
                </a:solidFill>
                <a:latin typeface="Amatic SC" panose="00000500000000000000" pitchFamily="2" charset="-79"/>
                <a:cs typeface="Amatic SC" panose="00000500000000000000" pitchFamily="2" charset="-79"/>
              </a:rPr>
            </a:br>
            <a:r>
              <a:rPr lang="da-DK" sz="2400" b="1" dirty="0">
                <a:solidFill>
                  <a:srgbClr val="273F68"/>
                </a:solidFill>
                <a:latin typeface="Amatic SC" panose="00000500000000000000" pitchFamily="2" charset="-79"/>
                <a:cs typeface="Amatic SC" panose="00000500000000000000" pitchFamily="2" charset="-79"/>
              </a:rPr>
              <a:t>hvordan kan vi blive bedre fremadrettet? </a:t>
            </a:r>
            <a:endParaRPr lang="da-DK" sz="2400" noProof="0" dirty="0">
              <a:solidFill>
                <a:srgbClr val="273F68"/>
              </a:solidFill>
              <a:latin typeface="Amatic SC" panose="00000500000000000000" pitchFamily="2" charset="-79"/>
              <a:cs typeface="Amatic SC" panose="00000500000000000000" pitchFamily="2" charset="-79"/>
            </a:endParaRPr>
          </a:p>
        </p:txBody>
      </p:sp>
      <p:pic>
        <p:nvPicPr>
          <p:cNvPr id="6" name="Graphic 5" descr="Paperclip with solid fill">
            <a:extLst>
              <a:ext uri="{FF2B5EF4-FFF2-40B4-BE49-F238E27FC236}">
                <a16:creationId xmlns:a16="http://schemas.microsoft.com/office/drawing/2014/main" id="{F02DD254-3E7E-85BD-8E45-B9D602CC7F3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133011" y="2461228"/>
            <a:ext cx="914400" cy="914400"/>
          </a:xfrm>
          <a:prstGeom prst="rect">
            <a:avLst/>
          </a:prstGeom>
        </p:spPr>
      </p:pic>
      <p:sp>
        <p:nvSpPr>
          <p:cNvPr id="7" name="Rectangle 6">
            <a:extLst>
              <a:ext uri="{FF2B5EF4-FFF2-40B4-BE49-F238E27FC236}">
                <a16:creationId xmlns:a16="http://schemas.microsoft.com/office/drawing/2014/main" id="{04157946-5611-8C4B-3ED0-4026199785C4}"/>
              </a:ext>
            </a:extLst>
          </p:cNvPr>
          <p:cNvSpPr/>
          <p:nvPr/>
        </p:nvSpPr>
        <p:spPr>
          <a:xfrm rot="437979">
            <a:off x="8454230" y="2354968"/>
            <a:ext cx="2817291" cy="2782784"/>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dirty="0">
              <a:solidFill>
                <a:srgbClr val="273F68"/>
              </a:solidFill>
              <a:latin typeface="Amatic SC" panose="00000500000000000000" pitchFamily="2" charset="-79"/>
              <a:cs typeface="Amatic SC" panose="00000500000000000000" pitchFamily="2" charset="-79"/>
            </a:endParaRPr>
          </a:p>
          <a:p>
            <a:pPr algn="ctr"/>
            <a:endParaRPr lang="da-DK" sz="2400" b="1"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kan vi undgå,</a:t>
            </a:r>
            <a:br>
              <a:rPr lang="da-DK" sz="2400" b="1" dirty="0">
                <a:solidFill>
                  <a:srgbClr val="273F68"/>
                </a:solidFill>
                <a:latin typeface="Amatic SC" panose="00000500000000000000" pitchFamily="2" charset="-79"/>
                <a:cs typeface="Amatic SC" panose="00000500000000000000" pitchFamily="2" charset="-79"/>
              </a:rPr>
            </a:br>
            <a:r>
              <a:rPr lang="da-DK" sz="2400" b="1" dirty="0">
                <a:solidFill>
                  <a:srgbClr val="273F68"/>
                </a:solidFill>
                <a:latin typeface="Amatic SC" panose="00000500000000000000" pitchFamily="2" charset="-79"/>
                <a:cs typeface="Amatic SC" panose="00000500000000000000" pitchFamily="2" charset="-79"/>
              </a:rPr>
              <a:t>at evaluering af prøvehandlinger baserer sig på mavefornemmelser?</a:t>
            </a:r>
            <a:r>
              <a:rPr lang="da-DK" sz="2200" b="1" dirty="0">
                <a:solidFill>
                  <a:srgbClr val="273F68"/>
                </a:solidFill>
                <a:latin typeface="Amatic SC" panose="00000500000000000000" pitchFamily="2" charset="-79"/>
                <a:cs typeface="Amatic SC" panose="00000500000000000000" pitchFamily="2" charset="-79"/>
              </a:rPr>
              <a:t> </a:t>
            </a:r>
          </a:p>
        </p:txBody>
      </p:sp>
      <p:sp>
        <p:nvSpPr>
          <p:cNvPr id="8" name="Rectangle 7">
            <a:extLst>
              <a:ext uri="{FF2B5EF4-FFF2-40B4-BE49-F238E27FC236}">
                <a16:creationId xmlns:a16="http://schemas.microsoft.com/office/drawing/2014/main" id="{8BDAA3FF-59CD-C6F5-F701-342B5E4445E1}"/>
              </a:ext>
            </a:extLst>
          </p:cNvPr>
          <p:cNvSpPr/>
          <p:nvPr/>
        </p:nvSpPr>
        <p:spPr>
          <a:xfrm rot="20942225">
            <a:off x="1206123"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a:solidFill>
                <a:srgbClr val="273F68"/>
              </a:solidFill>
              <a:latin typeface="Amatic SC" panose="00000500000000000000" pitchFamily="2" charset="-79"/>
              <a:cs typeface="Amatic SC" panose="00000500000000000000" pitchFamily="2" charset="-79"/>
            </a:endParaRPr>
          </a:p>
          <a:p>
            <a:pPr algn="ctr"/>
            <a:r>
              <a:rPr lang="da-DK" sz="2400" b="1" noProof="0">
                <a:solidFill>
                  <a:srgbClr val="273F68"/>
                </a:solidFill>
                <a:latin typeface="Amatic SC" panose="00000500000000000000" pitchFamily="2" charset="-79"/>
                <a:cs typeface="Amatic SC" panose="00000500000000000000" pitchFamily="2" charset="-79"/>
              </a:rPr>
              <a:t>Hvilken didaktisk og </a:t>
            </a:r>
            <a:r>
              <a:rPr lang="da-DK" sz="2400" b="1">
                <a:solidFill>
                  <a:srgbClr val="273F68"/>
                </a:solidFill>
                <a:latin typeface="Amatic SC" panose="00000500000000000000" pitchFamily="2" charset="-79"/>
                <a:cs typeface="Amatic SC" panose="00000500000000000000" pitchFamily="2" charset="-79"/>
              </a:rPr>
              <a:t>pædagogisk </a:t>
            </a:r>
            <a:r>
              <a:rPr lang="da-DK" sz="2400" b="1" noProof="0">
                <a:solidFill>
                  <a:srgbClr val="273F68"/>
                </a:solidFill>
                <a:latin typeface="Amatic SC" panose="00000500000000000000" pitchFamily="2" charset="-79"/>
                <a:cs typeface="Amatic SC" panose="00000500000000000000" pitchFamily="2" charset="-79"/>
              </a:rPr>
              <a:t>intention ligger bag vores nuværende prøvehandlinger?</a:t>
            </a:r>
          </a:p>
        </p:txBody>
      </p:sp>
      <p:pic>
        <p:nvPicPr>
          <p:cNvPr id="3" name="Graphic 2" descr="Paperclip with solid fill">
            <a:extLst>
              <a:ext uri="{FF2B5EF4-FFF2-40B4-BE49-F238E27FC236}">
                <a16:creationId xmlns:a16="http://schemas.microsoft.com/office/drawing/2014/main" id="{AE2E047D-1D57-0D37-261A-11AA26C96EF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914486"/>
            <a:ext cx="914400" cy="914400"/>
          </a:xfrm>
          <a:prstGeom prst="rect">
            <a:avLst/>
          </a:prstGeom>
        </p:spPr>
      </p:pic>
      <p:pic>
        <p:nvPicPr>
          <p:cNvPr id="11" name="Graphic 10" descr="Paperclip with solid fill">
            <a:extLst>
              <a:ext uri="{FF2B5EF4-FFF2-40B4-BE49-F238E27FC236}">
                <a16:creationId xmlns:a16="http://schemas.microsoft.com/office/drawing/2014/main" id="{8DE18BA0-F733-5E42-FE31-5C354263EA3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881677"/>
            <a:ext cx="914400" cy="914400"/>
          </a:xfrm>
          <a:prstGeom prst="rect">
            <a:avLst/>
          </a:prstGeom>
        </p:spPr>
      </p:pic>
      <p:sp>
        <p:nvSpPr>
          <p:cNvPr id="9" name="Google Shape;846;p29">
            <a:extLst>
              <a:ext uri="{FF2B5EF4-FFF2-40B4-BE49-F238E27FC236}">
                <a16:creationId xmlns:a16="http://schemas.microsoft.com/office/drawing/2014/main" id="{67B99296-AEBF-78CA-AB36-AFA9E38F5D34}"/>
              </a:ext>
            </a:extLst>
          </p:cNvPr>
          <p:cNvSpPr/>
          <p:nvPr/>
        </p:nvSpPr>
        <p:spPr>
          <a:xfrm>
            <a:off x="0" y="346507"/>
            <a:ext cx="12192001" cy="854281"/>
          </a:xfrm>
          <a:prstGeom prst="rect">
            <a:avLst/>
          </a:prstGeom>
          <a:solidFill>
            <a:schemeClr val="tx2"/>
          </a:solidFill>
          <a:ln>
            <a:noFill/>
          </a:ln>
        </p:spPr>
        <p:txBody>
          <a:bodyPr spcFirstLastPara="1" wrap="square" lIns="396000" tIns="91425" rIns="91425" bIns="91425" anchor="ctr" anchorCtr="0">
            <a:noAutofit/>
          </a:bodyPr>
          <a:lstStyle/>
          <a:p>
            <a:pPr marL="0" lvl="0" indent="0" algn="ctr">
              <a:spcBef>
                <a:spcPts val="0"/>
              </a:spcBef>
              <a:spcAft>
                <a:spcPts val="0"/>
              </a:spcAft>
              <a:buNone/>
            </a:pPr>
            <a:r>
              <a:rPr lang="da-DK" sz="3200" b="1" dirty="0">
                <a:solidFill>
                  <a:schemeClr val="bg1"/>
                </a:solidFill>
                <a:latin typeface="Amatic SC"/>
                <a:ea typeface="Amatic SC"/>
                <a:cs typeface="Amatic SC"/>
                <a:sym typeface="Amatic SC"/>
              </a:rPr>
              <a:t>Refleksionsspørgsmål – Tegn på forandring i praksis</a:t>
            </a:r>
            <a:endParaRPr lang="da-DK" sz="3200" b="1">
              <a:solidFill>
                <a:schemeClr val="bg1"/>
              </a:solidFill>
              <a:latin typeface="Amatic SC"/>
              <a:ea typeface="Amatic SC"/>
              <a:cs typeface="Amatic SC"/>
              <a:sym typeface="Amatic SC"/>
            </a:endParaRPr>
          </a:p>
        </p:txBody>
      </p:sp>
      <p:sp>
        <p:nvSpPr>
          <p:cNvPr id="12" name="TextBox 9">
            <a:extLst>
              <a:ext uri="{FF2B5EF4-FFF2-40B4-BE49-F238E27FC236}">
                <a16:creationId xmlns:a16="http://schemas.microsoft.com/office/drawing/2014/main" id="{1CA410C3-C7B3-FEC2-FCD1-89593831391E}"/>
              </a:ext>
            </a:extLst>
          </p:cNvPr>
          <p:cNvSpPr txBox="1"/>
          <p:nvPr/>
        </p:nvSpPr>
        <p:spPr>
          <a:xfrm>
            <a:off x="1060425" y="5752072"/>
            <a:ext cx="10772775" cy="123111"/>
          </a:xfrm>
          <a:prstGeom prst="rect">
            <a:avLst/>
          </a:prstGeom>
          <a:noFill/>
        </p:spPr>
        <p:txBody>
          <a:bodyPr wrap="square" lIns="0" tIns="0" rIns="0" bIns="0" rtlCol="0">
            <a:spAutoFit/>
          </a:bodyPr>
          <a:lstStyle/>
          <a:p>
            <a:r>
              <a:rPr lang="da-DK" sz="800" dirty="0">
                <a:latin typeface="Quicksand" panose="020B0604020202020204"/>
              </a:rPr>
              <a:t>*I kan med fordel inddrage og perspektivere til skolens resultater i skolerapporten </a:t>
            </a:r>
            <a:r>
              <a:rPr lang="da-DK" sz="800" dirty="0">
                <a:solidFill>
                  <a:schemeClr val="tx1"/>
                </a:solidFill>
                <a:latin typeface="Quicksand" panose="020B0604020202020204" charset="0"/>
                <a:ea typeface="Quicksand"/>
                <a:cs typeface="Quicksand" panose="020B0604020202020204" charset="0"/>
                <a:sym typeface="Quicksand"/>
              </a:rPr>
              <a:t>under temaet ‘Teamets samarbejde i PLF’.</a:t>
            </a:r>
            <a:endParaRPr lang="da-DK" sz="800" dirty="0">
              <a:latin typeface="Quicksand" panose="020B0604020202020204"/>
            </a:endParaRPr>
          </a:p>
        </p:txBody>
      </p:sp>
    </p:spTree>
    <p:extLst>
      <p:ext uri="{BB962C8B-B14F-4D97-AF65-F5344CB8AC3E}">
        <p14:creationId xmlns:p14="http://schemas.microsoft.com/office/powerpoint/2010/main" val="293142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6</a:t>
            </a:fld>
            <a:endParaRPr lang="da-DK"/>
          </a:p>
        </p:txBody>
      </p:sp>
      <p:sp>
        <p:nvSpPr>
          <p:cNvPr id="2" name="Google Shape;846;p29">
            <a:extLst>
              <a:ext uri="{FF2B5EF4-FFF2-40B4-BE49-F238E27FC236}">
                <a16:creationId xmlns:a16="http://schemas.microsoft.com/office/drawing/2014/main" id="{15E4C8ED-7C1D-F41F-CFD3-DC21D4DDC86D}"/>
              </a:ext>
            </a:extLst>
          </p:cNvPr>
          <p:cNvSpPr/>
          <p:nvPr/>
        </p:nvSpPr>
        <p:spPr>
          <a:xfrm>
            <a:off x="0" y="346507"/>
            <a:ext cx="12192001" cy="854281"/>
          </a:xfrm>
          <a:prstGeom prst="rect">
            <a:avLst/>
          </a:prstGeom>
          <a:solidFill>
            <a:schemeClr val="tx2"/>
          </a:solidFill>
          <a:ln>
            <a:noFill/>
          </a:ln>
        </p:spPr>
        <p:txBody>
          <a:bodyPr spcFirstLastPara="1" wrap="square" lIns="396000" tIns="91425" rIns="91425" bIns="91425" anchor="ctr" anchorCtr="0">
            <a:noAutofit/>
          </a:bodyPr>
          <a:lstStyle/>
          <a:p>
            <a:pPr algn="ctr"/>
            <a:r>
              <a:rPr lang="da-DK" sz="3200" b="1" dirty="0">
                <a:solidFill>
                  <a:schemeClr val="bg1"/>
                </a:solidFill>
                <a:latin typeface="Amatic SC" panose="00000500000000000000" pitchFamily="2" charset="-79"/>
                <a:cs typeface="Amatic SC" panose="00000500000000000000" pitchFamily="2" charset="-79"/>
              </a:rPr>
              <a:t>Refleksionsspørgsmål </a:t>
            </a:r>
            <a:r>
              <a:rPr lang="da-DK" sz="3200" b="1" dirty="0">
                <a:solidFill>
                  <a:schemeClr val="bg1"/>
                </a:solidFill>
                <a:latin typeface="Amatic SC"/>
                <a:ea typeface="Amatic SC"/>
                <a:cs typeface="Amatic SC"/>
                <a:sym typeface="Amatic SC"/>
              </a:rPr>
              <a:t>–</a:t>
            </a:r>
            <a:r>
              <a:rPr lang="da-DK" sz="3200" b="1" dirty="0">
                <a:solidFill>
                  <a:schemeClr val="bg1"/>
                </a:solidFill>
                <a:latin typeface="Amatic SC" panose="00000500000000000000" pitchFamily="2" charset="-79"/>
                <a:cs typeface="Amatic SC" panose="00000500000000000000" pitchFamily="2" charset="-79"/>
              </a:rPr>
              <a:t> Samarbejde og kapacitet i professionelle læringsfællesskaber</a:t>
            </a:r>
          </a:p>
        </p:txBody>
      </p:sp>
      <p:sp>
        <p:nvSpPr>
          <p:cNvPr id="13" name="Rectangle 12">
            <a:extLst>
              <a:ext uri="{FF2B5EF4-FFF2-40B4-BE49-F238E27FC236}">
                <a16:creationId xmlns:a16="http://schemas.microsoft.com/office/drawing/2014/main" id="{32652A45-6632-026E-3F16-F8CAD5C86D73}"/>
              </a:ext>
            </a:extLst>
          </p:cNvPr>
          <p:cNvSpPr/>
          <p:nvPr/>
        </p:nvSpPr>
        <p:spPr>
          <a:xfrm rot="1069853">
            <a:off x="4908336" y="2861515"/>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a:endParaRPr lang="da-DK" sz="2400" b="1"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kan vi inddrage kolleger fra andre teams, så vi får nye perspektiver på vores udfordringer? </a:t>
            </a:r>
            <a:endParaRPr lang="da-DK" sz="2000" b="1" dirty="0">
              <a:solidFill>
                <a:srgbClr val="273F68"/>
              </a:solidFill>
              <a:latin typeface="Amatic SC" panose="00000500000000000000" pitchFamily="2" charset="-79"/>
              <a:cs typeface="Amatic SC" panose="00000500000000000000" pitchFamily="2" charset="-79"/>
            </a:endParaRPr>
          </a:p>
        </p:txBody>
      </p:sp>
      <p:pic>
        <p:nvPicPr>
          <p:cNvPr id="14" name="Graphic 13" descr="Paperclip with solid fill">
            <a:extLst>
              <a:ext uri="{FF2B5EF4-FFF2-40B4-BE49-F238E27FC236}">
                <a16:creationId xmlns:a16="http://schemas.microsoft.com/office/drawing/2014/main" id="{331EF372-0C92-9E48-6FA1-62B1C0B00D9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277791" y="2430968"/>
            <a:ext cx="914400" cy="914400"/>
          </a:xfrm>
          <a:prstGeom prst="rect">
            <a:avLst/>
          </a:prstGeom>
        </p:spPr>
      </p:pic>
      <p:sp>
        <p:nvSpPr>
          <p:cNvPr id="15" name="Rectangle 14">
            <a:extLst>
              <a:ext uri="{FF2B5EF4-FFF2-40B4-BE49-F238E27FC236}">
                <a16:creationId xmlns:a16="http://schemas.microsoft.com/office/drawing/2014/main" id="{8484EB3E-0EC0-445D-2269-68ABAC2436EB}"/>
              </a:ext>
            </a:extLst>
          </p:cNvPr>
          <p:cNvSpPr/>
          <p:nvPr/>
        </p:nvSpPr>
        <p:spPr>
          <a:xfrm rot="437979">
            <a:off x="8481376"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dirty="0">
              <a:solidFill>
                <a:srgbClr val="273F68"/>
              </a:solidFill>
              <a:latin typeface="Amatic SC" panose="00000500000000000000" pitchFamily="2" charset="-79"/>
              <a:cs typeface="Amatic SC" panose="00000500000000000000" pitchFamily="2" charset="-79"/>
            </a:endParaRPr>
          </a:p>
          <a:p>
            <a:pPr algn="ctr"/>
            <a:endParaRPr lang="da-DK" sz="2400" b="1" dirty="0">
              <a:solidFill>
                <a:srgbClr val="273F68"/>
              </a:solidFill>
              <a:latin typeface="Amatic SC" panose="00000500000000000000" pitchFamily="2" charset="-79"/>
              <a:cs typeface="Amatic SC" panose="00000500000000000000" pitchFamily="2" charset="-79"/>
            </a:endParaRPr>
          </a:p>
          <a:p>
            <a:pPr algn="ctr"/>
            <a:r>
              <a:rPr lang="da-DK" sz="2400" b="1" dirty="0">
                <a:solidFill>
                  <a:srgbClr val="273F68"/>
                </a:solidFill>
                <a:latin typeface="Amatic SC" panose="00000500000000000000" pitchFamily="2" charset="-79"/>
                <a:cs typeface="Amatic SC" panose="00000500000000000000" pitchFamily="2" charset="-79"/>
              </a:rPr>
              <a:t>Hvordan kommer skolens børnesyn konkret til udtryk</a:t>
            </a:r>
            <a:br>
              <a:rPr lang="da-DK" sz="2400" b="1" dirty="0">
                <a:solidFill>
                  <a:srgbClr val="273F68"/>
                </a:solidFill>
                <a:latin typeface="Amatic SC" panose="00000500000000000000" pitchFamily="2" charset="-79"/>
                <a:cs typeface="Amatic SC" panose="00000500000000000000" pitchFamily="2" charset="-79"/>
              </a:rPr>
            </a:br>
            <a:r>
              <a:rPr lang="da-DK" sz="2400" b="1" dirty="0">
                <a:solidFill>
                  <a:srgbClr val="273F68"/>
                </a:solidFill>
                <a:latin typeface="Amatic SC" panose="00000500000000000000" pitchFamily="2" charset="-79"/>
                <a:cs typeface="Amatic SC" panose="00000500000000000000" pitchFamily="2" charset="-79"/>
              </a:rPr>
              <a:t>i vores praksis?</a:t>
            </a:r>
            <a:r>
              <a:rPr lang="da-DK" sz="2200" b="1" dirty="0">
                <a:solidFill>
                  <a:srgbClr val="273F68"/>
                </a:solidFill>
                <a:latin typeface="Amatic SC" panose="00000500000000000000" pitchFamily="2" charset="-79"/>
                <a:cs typeface="Amatic SC" panose="00000500000000000000" pitchFamily="2" charset="-79"/>
              </a:rPr>
              <a:t> </a:t>
            </a:r>
          </a:p>
        </p:txBody>
      </p:sp>
      <p:sp>
        <p:nvSpPr>
          <p:cNvPr id="17" name="Rectangle 16">
            <a:extLst>
              <a:ext uri="{FF2B5EF4-FFF2-40B4-BE49-F238E27FC236}">
                <a16:creationId xmlns:a16="http://schemas.microsoft.com/office/drawing/2014/main" id="{61E620FF-6BE6-A070-EF76-C0725759776A}"/>
              </a:ext>
            </a:extLst>
          </p:cNvPr>
          <p:cNvSpPr/>
          <p:nvPr/>
        </p:nvSpPr>
        <p:spPr>
          <a:xfrm rot="20942225">
            <a:off x="1206123" y="240562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800" noProof="0" dirty="0">
              <a:solidFill>
                <a:srgbClr val="273F68"/>
              </a:solidFill>
              <a:latin typeface="Amatic SC" panose="00000500000000000000" pitchFamily="2" charset="-79"/>
              <a:cs typeface="Amatic SC" panose="00000500000000000000" pitchFamily="2" charset="-79"/>
            </a:endParaRPr>
          </a:p>
          <a:p>
            <a:pPr algn="ctr"/>
            <a:r>
              <a:rPr lang="da-DK" sz="2400" b="1" noProof="0" dirty="0">
                <a:solidFill>
                  <a:srgbClr val="273F68"/>
                </a:solidFill>
                <a:latin typeface="Amatic SC" panose="00000500000000000000" pitchFamily="2" charset="-79"/>
                <a:cs typeface="Amatic SC" panose="00000500000000000000" pitchFamily="2" charset="-79"/>
              </a:rPr>
              <a:t>Hvordan kan vi dele viden om prøvehandlinger, så det kommer hele skolen</a:t>
            </a:r>
            <a:br>
              <a:rPr lang="da-DK" sz="2400" b="1" noProof="0" dirty="0">
                <a:solidFill>
                  <a:srgbClr val="273F68"/>
                </a:solidFill>
                <a:latin typeface="Amatic SC" panose="00000500000000000000" pitchFamily="2" charset="-79"/>
                <a:cs typeface="Amatic SC" panose="00000500000000000000" pitchFamily="2" charset="-79"/>
              </a:rPr>
            </a:br>
            <a:r>
              <a:rPr lang="da-DK" sz="2400" b="1" noProof="0" dirty="0">
                <a:solidFill>
                  <a:srgbClr val="273F68"/>
                </a:solidFill>
                <a:latin typeface="Amatic SC" panose="00000500000000000000" pitchFamily="2" charset="-79"/>
                <a:cs typeface="Amatic SC" panose="00000500000000000000" pitchFamily="2" charset="-79"/>
              </a:rPr>
              <a:t>til gavn?</a:t>
            </a:r>
          </a:p>
        </p:txBody>
      </p:sp>
      <p:pic>
        <p:nvPicPr>
          <p:cNvPr id="18" name="Graphic 17" descr="Paperclip with solid fill">
            <a:extLst>
              <a:ext uri="{FF2B5EF4-FFF2-40B4-BE49-F238E27FC236}">
                <a16:creationId xmlns:a16="http://schemas.microsoft.com/office/drawing/2014/main" id="{B9BC66BD-03D1-F366-0840-BEB2988C5A9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914486"/>
            <a:ext cx="914400" cy="914400"/>
          </a:xfrm>
          <a:prstGeom prst="rect">
            <a:avLst/>
          </a:prstGeom>
        </p:spPr>
      </p:pic>
      <p:pic>
        <p:nvPicPr>
          <p:cNvPr id="19" name="Graphic 18" descr="Paperclip with solid fill">
            <a:extLst>
              <a:ext uri="{FF2B5EF4-FFF2-40B4-BE49-F238E27FC236}">
                <a16:creationId xmlns:a16="http://schemas.microsoft.com/office/drawing/2014/main" id="{C08E5D5F-A56F-92B2-0509-3AFC8459F8C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930604"/>
            <a:ext cx="914400" cy="914400"/>
          </a:xfrm>
          <a:prstGeom prst="rect">
            <a:avLst/>
          </a:prstGeom>
        </p:spPr>
      </p:pic>
      <p:sp>
        <p:nvSpPr>
          <p:cNvPr id="6" name="TextBox 9">
            <a:extLst>
              <a:ext uri="{FF2B5EF4-FFF2-40B4-BE49-F238E27FC236}">
                <a16:creationId xmlns:a16="http://schemas.microsoft.com/office/drawing/2014/main" id="{8A4EA679-03AE-C376-34D0-156173D9124F}"/>
              </a:ext>
            </a:extLst>
          </p:cNvPr>
          <p:cNvSpPr txBox="1"/>
          <p:nvPr/>
        </p:nvSpPr>
        <p:spPr>
          <a:xfrm>
            <a:off x="1060425" y="5752072"/>
            <a:ext cx="10772775" cy="123111"/>
          </a:xfrm>
          <a:prstGeom prst="rect">
            <a:avLst/>
          </a:prstGeom>
          <a:noFill/>
        </p:spPr>
        <p:txBody>
          <a:bodyPr wrap="square" lIns="0" tIns="0" rIns="0" bIns="0" rtlCol="0">
            <a:spAutoFit/>
          </a:bodyPr>
          <a:lstStyle/>
          <a:p>
            <a:r>
              <a:rPr lang="da-DK" sz="800" dirty="0">
                <a:latin typeface="Quicksand" panose="020B0604020202020204"/>
              </a:rPr>
              <a:t>*I kan med fordel inddrage og perspektivere til skolens resultater i skolerapporten </a:t>
            </a:r>
            <a:r>
              <a:rPr lang="da-DK" sz="800" dirty="0">
                <a:solidFill>
                  <a:schemeClr val="tx1"/>
                </a:solidFill>
                <a:latin typeface="Quicksand" panose="020B0604020202020204" charset="0"/>
                <a:ea typeface="Quicksand"/>
                <a:cs typeface="Quicksand" panose="020B0604020202020204" charset="0"/>
                <a:sym typeface="Quicksand"/>
              </a:rPr>
              <a:t>under temaet ‘Teamets samarbejde i PLF’. </a:t>
            </a:r>
            <a:endParaRPr lang="da-DK" sz="800" dirty="0">
              <a:latin typeface="Quicksand" panose="020B0604020202020204"/>
            </a:endParaRPr>
          </a:p>
        </p:txBody>
      </p:sp>
    </p:spTree>
    <p:extLst>
      <p:ext uri="{BB962C8B-B14F-4D97-AF65-F5344CB8AC3E}">
        <p14:creationId xmlns:p14="http://schemas.microsoft.com/office/powerpoint/2010/main" val="162060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7</a:t>
            </a:fld>
            <a:endParaRPr lang="da-DK"/>
          </a:p>
        </p:txBody>
      </p:sp>
      <p:sp>
        <p:nvSpPr>
          <p:cNvPr id="3" name="Rectangle 2">
            <a:extLst>
              <a:ext uri="{FF2B5EF4-FFF2-40B4-BE49-F238E27FC236}">
                <a16:creationId xmlns:a16="http://schemas.microsoft.com/office/drawing/2014/main" id="{009F6E58-4DCA-9E38-B01F-1ECADE97A28B}"/>
              </a:ext>
            </a:extLst>
          </p:cNvPr>
          <p:cNvSpPr/>
          <p:nvPr/>
        </p:nvSpPr>
        <p:spPr>
          <a:xfrm rot="1069853">
            <a:off x="4878874" y="2512253"/>
            <a:ext cx="2942220" cy="262787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kan vi lede tættere på praksis – og sikre, at vores medarbejdere oplever det?</a:t>
            </a:r>
          </a:p>
          <a:p>
            <a:pPr>
              <a:lnSpc>
                <a:spcPct val="150000"/>
              </a:lnSpc>
            </a:pPr>
            <a:endParaRPr lang="da-DK" sz="2400" noProof="0">
              <a:solidFill>
                <a:srgbClr val="273F68"/>
              </a:solidFill>
              <a:latin typeface="Amatic SC" panose="00000500000000000000" pitchFamily="2" charset="-79"/>
              <a:cs typeface="Amatic SC" panose="00000500000000000000" pitchFamily="2" charset="-79"/>
            </a:endParaRPr>
          </a:p>
        </p:txBody>
      </p:sp>
      <p:pic>
        <p:nvPicPr>
          <p:cNvPr id="6" name="Graphic 5" descr="Paperclip with solid fill">
            <a:extLst>
              <a:ext uri="{FF2B5EF4-FFF2-40B4-BE49-F238E27FC236}">
                <a16:creationId xmlns:a16="http://schemas.microsoft.com/office/drawing/2014/main" id="{D7387F3A-086D-FA22-0B7B-CAD87F038D2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140968">
            <a:off x="6456239" y="2101019"/>
            <a:ext cx="914400" cy="914400"/>
          </a:xfrm>
          <a:prstGeom prst="rect">
            <a:avLst/>
          </a:prstGeom>
        </p:spPr>
      </p:pic>
      <p:sp>
        <p:nvSpPr>
          <p:cNvPr id="7" name="Rectangle 6">
            <a:extLst>
              <a:ext uri="{FF2B5EF4-FFF2-40B4-BE49-F238E27FC236}">
                <a16:creationId xmlns:a16="http://schemas.microsoft.com/office/drawing/2014/main" id="{78F37C90-05A6-A2FA-5A00-3BC2B9953D93}"/>
              </a:ext>
            </a:extLst>
          </p:cNvPr>
          <p:cNvSpPr/>
          <p:nvPr/>
        </p:nvSpPr>
        <p:spPr>
          <a:xfrm rot="437979">
            <a:off x="8510072" y="2440525"/>
            <a:ext cx="2850324" cy="2694111"/>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a:solidFill>
                <a:srgbClr val="273F68"/>
              </a:solidFill>
              <a:latin typeface="Amatic SC" panose="00000500000000000000" pitchFamily="2" charset="-79"/>
              <a:cs typeface="Amatic SC" panose="00000500000000000000" pitchFamily="2" charset="-79"/>
            </a:endParaRPr>
          </a:p>
          <a:p>
            <a:pPr algn="ctr"/>
            <a:endParaRPr lang="da-DK" sz="2400" b="1">
              <a:solidFill>
                <a:srgbClr val="273F68"/>
              </a:solidFill>
              <a:latin typeface="Amatic SC" panose="00000500000000000000" pitchFamily="2" charset="-79"/>
              <a:cs typeface="Amatic SC" panose="00000500000000000000" pitchFamily="2" charset="-79"/>
            </a:endParaRPr>
          </a:p>
          <a:p>
            <a:pPr algn="ctr"/>
            <a:r>
              <a:rPr lang="da-DK" sz="2400" b="1">
                <a:solidFill>
                  <a:srgbClr val="273F68"/>
                </a:solidFill>
                <a:latin typeface="Amatic SC" panose="00000500000000000000" pitchFamily="2" charset="-79"/>
                <a:cs typeface="Amatic SC" panose="00000500000000000000" pitchFamily="2" charset="-79"/>
              </a:rPr>
              <a:t>Hvordan kan vi skabe en organisering, som i højere grad understøtter didaktiske samtaler om praksis?</a:t>
            </a:r>
            <a:endParaRPr lang="da-DK" sz="2000" b="1" noProof="0">
              <a:solidFill>
                <a:srgbClr val="273F68"/>
              </a:solidFill>
              <a:latin typeface="Amatic SC" panose="00000500000000000000" pitchFamily="2" charset="-79"/>
              <a:cs typeface="Amatic SC" panose="00000500000000000000" pitchFamily="2" charset="-79"/>
            </a:endParaRPr>
          </a:p>
        </p:txBody>
      </p:sp>
      <p:sp>
        <p:nvSpPr>
          <p:cNvPr id="8" name="Rectangle 7">
            <a:extLst>
              <a:ext uri="{FF2B5EF4-FFF2-40B4-BE49-F238E27FC236}">
                <a16:creationId xmlns:a16="http://schemas.microsoft.com/office/drawing/2014/main" id="{0BF9C52F-6741-2731-1D9F-EC4DD8953C35}"/>
              </a:ext>
            </a:extLst>
          </p:cNvPr>
          <p:cNvSpPr/>
          <p:nvPr/>
        </p:nvSpPr>
        <p:spPr>
          <a:xfrm rot="20942225">
            <a:off x="1206123" y="2276087"/>
            <a:ext cx="2817291" cy="235549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endParaRPr lang="da-DK" sz="2000" b="1" dirty="0">
              <a:solidFill>
                <a:srgbClr val="273F68"/>
              </a:solidFill>
              <a:latin typeface="Amatic SC" panose="00000500000000000000" pitchFamily="2" charset="-79"/>
              <a:cs typeface="Amatic SC" panose="00000500000000000000" pitchFamily="2" charset="-79"/>
            </a:endParaRPr>
          </a:p>
          <a:p>
            <a:pPr algn="ctr"/>
            <a:r>
              <a:rPr lang="da-DK" sz="2400" b="1" noProof="0" dirty="0">
                <a:solidFill>
                  <a:srgbClr val="273F68"/>
                </a:solidFill>
                <a:latin typeface="Amatic SC" panose="00000500000000000000" pitchFamily="2" charset="-79"/>
                <a:cs typeface="Amatic SC" panose="00000500000000000000" pitchFamily="2" charset="-79"/>
              </a:rPr>
              <a:t>Hvordan kan vi i højere grad inddrage skolens vejledere</a:t>
            </a:r>
            <a:br>
              <a:rPr lang="da-DK" sz="2400" b="1" noProof="0" dirty="0">
                <a:solidFill>
                  <a:srgbClr val="273F68"/>
                </a:solidFill>
                <a:latin typeface="Amatic SC" panose="00000500000000000000" pitchFamily="2" charset="-79"/>
                <a:cs typeface="Amatic SC" panose="00000500000000000000" pitchFamily="2" charset="-79"/>
              </a:rPr>
            </a:br>
            <a:r>
              <a:rPr lang="da-DK" sz="2400" b="1" noProof="0" dirty="0">
                <a:solidFill>
                  <a:srgbClr val="273F68"/>
                </a:solidFill>
                <a:latin typeface="Amatic SC" panose="00000500000000000000" pitchFamily="2" charset="-79"/>
                <a:cs typeface="Amatic SC" panose="00000500000000000000" pitchFamily="2" charset="-79"/>
              </a:rPr>
              <a:t>i udviklingsarbe</a:t>
            </a:r>
            <a:r>
              <a:rPr lang="da-DK" sz="2400" b="1" dirty="0" err="1">
                <a:solidFill>
                  <a:srgbClr val="273F68"/>
                </a:solidFill>
                <a:latin typeface="Amatic SC" panose="00000500000000000000" pitchFamily="2" charset="-79"/>
                <a:cs typeface="Amatic SC" panose="00000500000000000000" pitchFamily="2" charset="-79"/>
              </a:rPr>
              <a:t>jdet</a:t>
            </a:r>
            <a:r>
              <a:rPr lang="da-DK" sz="2400" b="1" noProof="0" dirty="0">
                <a:solidFill>
                  <a:srgbClr val="273F68"/>
                </a:solidFill>
                <a:latin typeface="Amatic SC" panose="00000500000000000000" pitchFamily="2" charset="-79"/>
                <a:cs typeface="Amatic SC" panose="00000500000000000000" pitchFamily="2" charset="-79"/>
              </a:rPr>
              <a:t>?</a:t>
            </a:r>
            <a:endParaRPr lang="da-DK" sz="2000" b="1" noProof="0" dirty="0">
              <a:solidFill>
                <a:srgbClr val="273F68"/>
              </a:solidFill>
              <a:latin typeface="Amatic SC" panose="00000500000000000000" pitchFamily="2" charset="-79"/>
              <a:cs typeface="Amatic SC" panose="00000500000000000000" pitchFamily="2" charset="-79"/>
            </a:endParaRPr>
          </a:p>
        </p:txBody>
      </p:sp>
      <p:pic>
        <p:nvPicPr>
          <p:cNvPr id="9" name="Graphic 8" descr="Paperclip with solid fill">
            <a:extLst>
              <a:ext uri="{FF2B5EF4-FFF2-40B4-BE49-F238E27FC236}">
                <a16:creationId xmlns:a16="http://schemas.microsoft.com/office/drawing/2014/main" id="{5EA0194D-3DFE-D9BE-2D12-91F8CE238E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1114206">
            <a:off x="1899915" y="1784946"/>
            <a:ext cx="914400" cy="914400"/>
          </a:xfrm>
          <a:prstGeom prst="rect">
            <a:avLst/>
          </a:prstGeom>
        </p:spPr>
      </p:pic>
      <p:pic>
        <p:nvPicPr>
          <p:cNvPr id="11" name="Graphic 10" descr="Paperclip with solid fill">
            <a:extLst>
              <a:ext uri="{FF2B5EF4-FFF2-40B4-BE49-F238E27FC236}">
                <a16:creationId xmlns:a16="http://schemas.microsoft.com/office/drawing/2014/main" id="{2BAE1577-CA5B-0D70-CF80-D254BC6DF1B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46786">
            <a:off x="9657072" y="1930604"/>
            <a:ext cx="914400" cy="914400"/>
          </a:xfrm>
          <a:prstGeom prst="rect">
            <a:avLst/>
          </a:prstGeom>
        </p:spPr>
      </p:pic>
      <p:sp>
        <p:nvSpPr>
          <p:cNvPr id="2" name="Google Shape;846;p29">
            <a:extLst>
              <a:ext uri="{FF2B5EF4-FFF2-40B4-BE49-F238E27FC236}">
                <a16:creationId xmlns:a16="http://schemas.microsoft.com/office/drawing/2014/main" id="{09FEB898-1DF8-9F97-B9ED-DC436C2EF578}"/>
              </a:ext>
            </a:extLst>
          </p:cNvPr>
          <p:cNvSpPr/>
          <p:nvPr/>
        </p:nvSpPr>
        <p:spPr>
          <a:xfrm>
            <a:off x="0" y="346507"/>
            <a:ext cx="12192001" cy="854281"/>
          </a:xfrm>
          <a:prstGeom prst="rect">
            <a:avLst/>
          </a:prstGeom>
          <a:solidFill>
            <a:schemeClr val="tx2"/>
          </a:solidFill>
          <a:ln>
            <a:noFill/>
          </a:ln>
        </p:spPr>
        <p:txBody>
          <a:bodyPr spcFirstLastPara="1" wrap="square" lIns="396000" tIns="91425" rIns="91425" bIns="91425" anchor="ctr" anchorCtr="0">
            <a:noAutofit/>
          </a:bodyPr>
          <a:lstStyle/>
          <a:p>
            <a:pPr algn="ctr"/>
            <a:r>
              <a:rPr lang="da-DK" sz="3200" b="1" dirty="0">
                <a:solidFill>
                  <a:schemeClr val="bg1"/>
                </a:solidFill>
                <a:latin typeface="Amatic SC"/>
                <a:ea typeface="Amatic SC"/>
                <a:cs typeface="Amatic SC"/>
                <a:sym typeface="Amatic SC"/>
              </a:rPr>
              <a:t>Refleksionsspørgsmål - ledelsesunderstøttelse og organisering</a:t>
            </a:r>
            <a:endParaRPr lang="da-DK" sz="3200" b="1">
              <a:solidFill>
                <a:schemeClr val="bg1"/>
              </a:solidFill>
              <a:latin typeface="Amatic SC" panose="00000500000000000000" pitchFamily="2" charset="-79"/>
              <a:cs typeface="Amatic SC" panose="00000500000000000000" pitchFamily="2" charset="-79"/>
            </a:endParaRPr>
          </a:p>
        </p:txBody>
      </p:sp>
      <p:sp>
        <p:nvSpPr>
          <p:cNvPr id="12" name="TextBox 9">
            <a:extLst>
              <a:ext uri="{FF2B5EF4-FFF2-40B4-BE49-F238E27FC236}">
                <a16:creationId xmlns:a16="http://schemas.microsoft.com/office/drawing/2014/main" id="{8D6A6131-6441-419A-AC50-BBE86B525D46}"/>
              </a:ext>
            </a:extLst>
          </p:cNvPr>
          <p:cNvSpPr txBox="1"/>
          <p:nvPr/>
        </p:nvSpPr>
        <p:spPr>
          <a:xfrm>
            <a:off x="1060425" y="5752072"/>
            <a:ext cx="10772775" cy="123111"/>
          </a:xfrm>
          <a:prstGeom prst="rect">
            <a:avLst/>
          </a:prstGeom>
          <a:noFill/>
        </p:spPr>
        <p:txBody>
          <a:bodyPr wrap="square" lIns="0" tIns="0" rIns="0" bIns="0" rtlCol="0">
            <a:spAutoFit/>
          </a:bodyPr>
          <a:lstStyle/>
          <a:p>
            <a:r>
              <a:rPr lang="da-DK" sz="800" dirty="0">
                <a:latin typeface="Quicksand" panose="020B0604020202020204"/>
              </a:rPr>
              <a:t>*I kan med fordel inddrage og perspektivere til skolens resultater i skolerapporten </a:t>
            </a:r>
            <a:r>
              <a:rPr lang="da-DK" sz="800" dirty="0">
                <a:solidFill>
                  <a:schemeClr val="tx1"/>
                </a:solidFill>
                <a:latin typeface="Quicksand" panose="020B0604020202020204" charset="0"/>
                <a:ea typeface="Quicksand"/>
                <a:cs typeface="Quicksand" panose="020B0604020202020204" charset="0"/>
                <a:sym typeface="Quicksand"/>
              </a:rPr>
              <a:t>under temaet ‘Det pædagogiske personales vurdering af ledelsesunderstøttelse’ og ‘Ledelsens vurdering af ledelsesunderstøttelse’. </a:t>
            </a:r>
            <a:endParaRPr lang="da-DK" sz="800" dirty="0">
              <a:latin typeface="Quicksand" panose="020B0604020202020204"/>
            </a:endParaRPr>
          </a:p>
        </p:txBody>
      </p:sp>
    </p:spTree>
    <p:extLst>
      <p:ext uri="{BB962C8B-B14F-4D97-AF65-F5344CB8AC3E}">
        <p14:creationId xmlns:p14="http://schemas.microsoft.com/office/powerpoint/2010/main" val="2177464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D630714-419F-9884-E428-AE54AF1E44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40824" y="1770370"/>
            <a:ext cx="3698360" cy="2607229"/>
          </a:xfrm>
          <a:prstGeom prst="rect">
            <a:avLst/>
          </a:prstGeom>
        </p:spPr>
      </p:pic>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B7FC3C18-0E4F-49B9-85D2-82FF8A035D13}"/>
              </a:ext>
            </a:extLst>
          </p:cNvPr>
          <p:cNvSpPr>
            <a:spLocks noGrp="1"/>
          </p:cNvSpPr>
          <p:nvPr>
            <p:ph type="sldNum" sz="quarter" idx="4294967295"/>
          </p:nvPr>
        </p:nvSpPr>
        <p:spPr>
          <a:xfrm>
            <a:off x="11206800" y="6476400"/>
            <a:ext cx="626400" cy="108000"/>
          </a:xfrm>
        </p:spPr>
        <p:txBody>
          <a:bodyPr/>
          <a:lstStyle/>
          <a:p>
            <a:fld id="{23AA811B-2EBD-4900-905E-5BE206449611}" type="slidenum">
              <a:rPr lang="da-DK" smtClean="0"/>
              <a:pPr/>
              <a:t>8</a:t>
            </a:fld>
            <a:endParaRPr lang="da-DK"/>
          </a:p>
        </p:txBody>
      </p:sp>
      <p:sp>
        <p:nvSpPr>
          <p:cNvPr id="12" name="Google Shape;843;p29">
            <a:extLst>
              <a:ext uri="{FF2B5EF4-FFF2-40B4-BE49-F238E27FC236}">
                <a16:creationId xmlns:a16="http://schemas.microsoft.com/office/drawing/2014/main" id="{7863966F-5A3D-4358-A359-6A15BA528247}"/>
              </a:ext>
            </a:extLst>
          </p:cNvPr>
          <p:cNvSpPr/>
          <p:nvPr/>
        </p:nvSpPr>
        <p:spPr>
          <a:xfrm>
            <a:off x="0" y="347676"/>
            <a:ext cx="12192000" cy="856809"/>
          </a:xfrm>
          <a:prstGeom prst="rect">
            <a:avLst/>
          </a:prstGeom>
          <a:solidFill>
            <a:schemeClr val="accent6"/>
          </a:solidFill>
          <a:ln>
            <a:noFill/>
          </a:ln>
        </p:spPr>
        <p:txBody>
          <a:bodyPr spcFirstLastPara="1" wrap="square" lIns="91425" tIns="0" rIns="91425" bIns="0" anchor="ctr" anchorCtr="0">
            <a:noAutofit/>
          </a:bodyPr>
          <a:lstStyle/>
          <a:p>
            <a:pPr marL="0" lvl="0" indent="0" algn="ctr">
              <a:spcBef>
                <a:spcPts val="0"/>
              </a:spcBef>
              <a:spcAft>
                <a:spcPts val="0"/>
              </a:spcAft>
              <a:buNone/>
            </a:pPr>
            <a:r>
              <a:rPr lang="da-DK" sz="4000" b="1">
                <a:solidFill>
                  <a:schemeClr val="bg1"/>
                </a:solidFill>
                <a:latin typeface="Amatic SC"/>
                <a:ea typeface="Amatic SC"/>
                <a:cs typeface="Amatic SC"/>
                <a:sym typeface="Amatic SC"/>
              </a:rPr>
              <a:t>aktiv lytning og drøftelser</a:t>
            </a:r>
          </a:p>
        </p:txBody>
      </p:sp>
      <p:pic>
        <p:nvPicPr>
          <p:cNvPr id="2" name="Graphic 1" descr="Chat with solid fill">
            <a:extLst>
              <a:ext uri="{FF2B5EF4-FFF2-40B4-BE49-F238E27FC236}">
                <a16:creationId xmlns:a16="http://schemas.microsoft.com/office/drawing/2014/main" id="{466161B9-A8C6-DC3E-A1AC-2420880FBA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83477" y="223276"/>
            <a:ext cx="1105607" cy="1105607"/>
          </a:xfrm>
          <a:prstGeom prst="rect">
            <a:avLst/>
          </a:prstGeom>
        </p:spPr>
      </p:pic>
      <p:sp>
        <p:nvSpPr>
          <p:cNvPr id="9" name="Google Shape;847;p29">
            <a:extLst>
              <a:ext uri="{FF2B5EF4-FFF2-40B4-BE49-F238E27FC236}">
                <a16:creationId xmlns:a16="http://schemas.microsoft.com/office/drawing/2014/main" id="{AD97E0C9-8541-1776-E88F-745C1AF9B06D}"/>
              </a:ext>
            </a:extLst>
          </p:cNvPr>
          <p:cNvSpPr txBox="1"/>
          <p:nvPr/>
        </p:nvSpPr>
        <p:spPr>
          <a:xfrm>
            <a:off x="901243" y="1682258"/>
            <a:ext cx="7072877" cy="4828066"/>
          </a:xfrm>
          <a:prstGeom prst="rect">
            <a:avLst/>
          </a:prstGeom>
          <a:noFill/>
          <a:ln>
            <a:noFill/>
          </a:ln>
        </p:spPr>
        <p:txBody>
          <a:bodyPr spcFirstLastPara="1" wrap="square" lIns="0" tIns="180000" rIns="0" bIns="0" anchor="t" anchorCtr="0">
            <a:noAutofit/>
          </a:bodyPr>
          <a:lstStyle/>
          <a:p>
            <a:r>
              <a:rPr lang="da-DK" sz="2200" b="1" dirty="0">
                <a:latin typeface="Amatic SC"/>
                <a:cs typeface="Amatic SC"/>
                <a:sym typeface="Quicksand"/>
              </a:rPr>
              <a:t>Forslag til proces: </a:t>
            </a:r>
          </a:p>
          <a:p>
            <a:endParaRPr lang="da-DK" sz="16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Alle får udleveret et lytteark med fire spørgsmål. Find eksempel på lytteark på næste slide.</a:t>
            </a:r>
            <a:r>
              <a:rPr lang="da-DK" sz="1500" b="1" dirty="0">
                <a:latin typeface="Quicksand" panose="020B0604020202020204" charset="0"/>
                <a:ea typeface="Quicksand"/>
                <a:cs typeface="Quicksand" panose="020B0604020202020204" charset="0"/>
                <a:sym typeface="Quicksand"/>
              </a:rPr>
              <a:t> </a:t>
            </a:r>
            <a:r>
              <a:rPr lang="da-DK" sz="1500" dirty="0">
                <a:latin typeface="Quicksand" panose="020B0604020202020204" charset="0"/>
                <a:ea typeface="Quicksand"/>
                <a:cs typeface="Quicksand" panose="020B0604020202020204" charset="0"/>
                <a:sym typeface="Quicksand"/>
              </a:rPr>
              <a:t>Ledelsen præsenterer evalueringens resultater, og undervejs noterer pædagogisk personale i lyttearket. </a:t>
            </a:r>
          </a:p>
          <a:p>
            <a:pPr marL="45720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Efter præsentationen drøfter pædagogisk personale resultaterne med afsæt i refleksionerne på arket. Drøftelserne foregår i to steps:</a:t>
            </a:r>
          </a:p>
          <a:p>
            <a:pPr marL="576000" lvl="1" indent="-144000">
              <a:buFont typeface="Arial" panose="020B0604020202020204" pitchFamily="34" charset="0"/>
              <a:buChar char="•"/>
            </a:pPr>
            <a:r>
              <a:rPr lang="da-DK" sz="1500" b="1" dirty="0">
                <a:latin typeface="Quicksand" panose="020B0604020202020204" charset="0"/>
                <a:ea typeface="Quicksand"/>
                <a:cs typeface="Quicksand" panose="020B0604020202020204" charset="0"/>
                <a:sym typeface="Quicksand"/>
              </a:rPr>
              <a:t>Udforsk: </a:t>
            </a:r>
            <a:r>
              <a:rPr lang="da-DK" sz="1500" dirty="0">
                <a:latin typeface="Quicksand" panose="020B0604020202020204" charset="0"/>
                <a:ea typeface="Quicksand"/>
                <a:cs typeface="Quicksand" panose="020B0604020202020204" charset="0"/>
                <a:sym typeface="Quicksand"/>
              </a:rPr>
              <a:t>Gå sammen på opdagelse i jeres refleksioner. Stil spørgsmål, vær nysgerrig, del perspektiver og udvælg temaer fra jeres noter.</a:t>
            </a:r>
          </a:p>
          <a:p>
            <a:pPr marL="576000" lvl="1" indent="-144000">
              <a:buFont typeface="Arial" panose="020B0604020202020204" pitchFamily="34" charset="0"/>
              <a:buChar char="•"/>
            </a:pPr>
            <a:r>
              <a:rPr lang="da-DK" sz="1500" b="1" dirty="0">
                <a:latin typeface="Quicksand" panose="020B0604020202020204" charset="0"/>
                <a:ea typeface="Quicksand"/>
                <a:cs typeface="Quicksand" panose="020B0604020202020204" charset="0"/>
                <a:sym typeface="Quicksand"/>
              </a:rPr>
              <a:t>Prioriter: </a:t>
            </a:r>
            <a:r>
              <a:rPr lang="da-DK" sz="1500" dirty="0">
                <a:latin typeface="Quicksand" panose="020B0604020202020204" charset="0"/>
                <a:ea typeface="Quicksand"/>
                <a:cs typeface="Quicksand" panose="020B0604020202020204" charset="0"/>
                <a:sym typeface="Quicksand"/>
              </a:rPr>
              <a:t>Se på tværs af jeres refleksioner og beslut, hvilket tema der er mest relevant at arbejde videre med som team fremadrettet, og hvilke handlinger jeres drøftelser giver anledning til.</a:t>
            </a:r>
          </a:p>
          <a:p>
            <a:pPr marL="114300"/>
            <a:endParaRPr lang="da-DK" sz="1500" dirty="0">
              <a:latin typeface="Quicksand" panose="020B0604020202020204" charset="0"/>
              <a:ea typeface="Quicksand"/>
              <a:cs typeface="Quicksand" panose="020B0604020202020204" charset="0"/>
              <a:sym typeface="Quicksand"/>
            </a:endParaRPr>
          </a:p>
          <a:p>
            <a:pPr marL="457200"/>
            <a:r>
              <a:rPr lang="da-DK" sz="1500" dirty="0">
                <a:latin typeface="Quicksand" panose="020B0604020202020204" charset="0"/>
                <a:ea typeface="Quicksand"/>
                <a:cs typeface="Quicksand" panose="020B0604020202020204" charset="0"/>
                <a:sym typeface="Quicksand"/>
              </a:rPr>
              <a:t>Efter drøftelserne præsenterer hvert team i plenum, hvad der optog dem mest og hvorfor, samt hvilke handlinger de eventuelt vil igangsætte i arbejdet med Den Mangfoldige Folkeskole. </a:t>
            </a:r>
          </a:p>
          <a:p>
            <a:endParaRPr lang="da-DK" sz="1600" dirty="0">
              <a:latin typeface="Quicksand" panose="020B0604020202020204" charset="0"/>
              <a:ea typeface="Quicksand"/>
              <a:cs typeface="Quicksand" panose="020B0604020202020204" charset="0"/>
              <a:sym typeface="Quicksand"/>
            </a:endParaRPr>
          </a:p>
          <a:p>
            <a:endParaRPr lang="da-DK" sz="1600" dirty="0">
              <a:latin typeface="Quicksand" panose="020B0604020202020204" charset="0"/>
              <a:ea typeface="Quicksand"/>
              <a:cs typeface="Quicksand" panose="020B0604020202020204" charset="0"/>
              <a:sym typeface="Quicksand"/>
            </a:endParaRPr>
          </a:p>
        </p:txBody>
      </p:sp>
      <p:sp>
        <p:nvSpPr>
          <p:cNvPr id="10" name="Oval 9">
            <a:extLst>
              <a:ext uri="{FF2B5EF4-FFF2-40B4-BE49-F238E27FC236}">
                <a16:creationId xmlns:a16="http://schemas.microsoft.com/office/drawing/2014/main" id="{C756B267-4C06-3D32-5E38-58912CFB00D4}"/>
              </a:ext>
            </a:extLst>
          </p:cNvPr>
          <p:cNvSpPr/>
          <p:nvPr/>
        </p:nvSpPr>
        <p:spPr>
          <a:xfrm>
            <a:off x="901242" y="2399960"/>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1</a:t>
            </a:r>
            <a:endParaRPr lang="da-DK" sz="2000" noProof="0">
              <a:latin typeface="Quicksand" panose="020B0604020202020204" charset="0"/>
              <a:cs typeface="Quicksand" panose="020B0604020202020204" charset="0"/>
            </a:endParaRPr>
          </a:p>
        </p:txBody>
      </p:sp>
      <p:sp>
        <p:nvSpPr>
          <p:cNvPr id="13" name="Oval 12">
            <a:extLst>
              <a:ext uri="{FF2B5EF4-FFF2-40B4-BE49-F238E27FC236}">
                <a16:creationId xmlns:a16="http://schemas.microsoft.com/office/drawing/2014/main" id="{5B0A1109-CBD8-B579-CF2E-AC4F74CB5042}"/>
              </a:ext>
            </a:extLst>
          </p:cNvPr>
          <p:cNvSpPr/>
          <p:nvPr/>
        </p:nvSpPr>
        <p:spPr>
          <a:xfrm>
            <a:off x="901242" y="3307134"/>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noProof="0">
                <a:latin typeface="Quicksand" panose="020B0604020202020204" charset="0"/>
                <a:cs typeface="Quicksand" panose="020B0604020202020204" charset="0"/>
              </a:rPr>
              <a:t>2</a:t>
            </a:r>
            <a:endParaRPr lang="da-DK" sz="2000" noProof="0">
              <a:latin typeface="Quicksand" panose="020B0604020202020204" charset="0"/>
              <a:cs typeface="Quicksand" panose="020B0604020202020204" charset="0"/>
            </a:endParaRPr>
          </a:p>
        </p:txBody>
      </p:sp>
      <p:sp>
        <p:nvSpPr>
          <p:cNvPr id="14" name="Oval 13">
            <a:extLst>
              <a:ext uri="{FF2B5EF4-FFF2-40B4-BE49-F238E27FC236}">
                <a16:creationId xmlns:a16="http://schemas.microsoft.com/office/drawing/2014/main" id="{DAAD8A69-4ACD-5176-9834-2D5A02559256}"/>
              </a:ext>
            </a:extLst>
          </p:cNvPr>
          <p:cNvSpPr/>
          <p:nvPr/>
        </p:nvSpPr>
        <p:spPr>
          <a:xfrm>
            <a:off x="901242" y="5146867"/>
            <a:ext cx="345600" cy="345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400">
                <a:latin typeface="Quicksand" panose="020B0604020202020204" charset="0"/>
                <a:cs typeface="Quicksand" panose="020B0604020202020204" charset="0"/>
              </a:rPr>
              <a:t>3</a:t>
            </a:r>
            <a:endParaRPr lang="da-DK" sz="2000" noProof="0">
              <a:latin typeface="Quicksand" panose="020B0604020202020204" charset="0"/>
              <a:cs typeface="Quicksand" panose="020B0604020202020204" charset="0"/>
            </a:endParaRPr>
          </a:p>
        </p:txBody>
      </p:sp>
      <p:sp>
        <p:nvSpPr>
          <p:cNvPr id="3" name="Rectangle 2">
            <a:extLst>
              <a:ext uri="{FF2B5EF4-FFF2-40B4-BE49-F238E27FC236}">
                <a16:creationId xmlns:a16="http://schemas.microsoft.com/office/drawing/2014/main" id="{0747AAA1-B671-2ED8-7544-4AE170D2A696}"/>
              </a:ext>
            </a:extLst>
          </p:cNvPr>
          <p:cNvSpPr/>
          <p:nvPr/>
        </p:nvSpPr>
        <p:spPr>
          <a:xfrm>
            <a:off x="8609883" y="2666415"/>
            <a:ext cx="2650313" cy="11347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da-DK" sz="1200" b="1" dirty="0">
                <a:solidFill>
                  <a:schemeClr val="bg1"/>
                </a:solidFill>
                <a:latin typeface="Quicksand" panose="020B0604020202020204"/>
              </a:rPr>
              <a:t>Tip:</a:t>
            </a:r>
            <a:br>
              <a:rPr lang="da-DK" sz="1200" b="1" dirty="0">
                <a:solidFill>
                  <a:schemeClr val="bg1"/>
                </a:solidFill>
                <a:latin typeface="Quicksand" panose="020B0604020202020204"/>
              </a:rPr>
            </a:br>
            <a:r>
              <a:rPr lang="da-DK" sz="1200" dirty="0">
                <a:solidFill>
                  <a:schemeClr val="bg1"/>
                </a:solidFill>
                <a:latin typeface="Quicksand" panose="020B0604020202020204" charset="0"/>
                <a:ea typeface="Quicksand"/>
                <a:cs typeface="Quicksand" panose="020B0604020202020204" charset="0"/>
                <a:sym typeface="Quicksand"/>
              </a:rPr>
              <a:t>I kan med fordel inddrage jeres </a:t>
            </a:r>
            <a:r>
              <a:rPr lang="da-DK" sz="1200" dirty="0">
                <a:solidFill>
                  <a:schemeClr val="bg1"/>
                </a:solidFill>
                <a:latin typeface="Quicksand" panose="020B0604020202020204"/>
              </a:rPr>
              <a:t>lokale</a:t>
            </a:r>
            <a:r>
              <a:rPr lang="da-DK" sz="1200" dirty="0">
                <a:solidFill>
                  <a:schemeClr val="bg1"/>
                </a:solidFill>
                <a:latin typeface="Quicksand" panose="020B0604020202020204" charset="0"/>
                <a:ea typeface="Quicksand"/>
                <a:cs typeface="Quicksand" panose="020B0604020202020204" charset="0"/>
                <a:sym typeface="Quicksand"/>
              </a:rPr>
              <a:t> skolerapport til at sammenligne skolens resultater med evalueringens overordnede resultater.</a:t>
            </a:r>
          </a:p>
        </p:txBody>
      </p:sp>
      <p:sp>
        <p:nvSpPr>
          <p:cNvPr id="21" name="Google Shape;1251;p48">
            <a:extLst>
              <a:ext uri="{FF2B5EF4-FFF2-40B4-BE49-F238E27FC236}">
                <a16:creationId xmlns:a16="http://schemas.microsoft.com/office/drawing/2014/main" id="{FD367EF4-8625-BEC0-7124-74CAA1EC9A66}"/>
              </a:ext>
            </a:extLst>
          </p:cNvPr>
          <p:cNvSpPr/>
          <p:nvPr/>
        </p:nvSpPr>
        <p:spPr>
          <a:xfrm>
            <a:off x="9751539" y="2131897"/>
            <a:ext cx="345681" cy="414830"/>
          </a:xfrm>
          <a:custGeom>
            <a:avLst/>
            <a:gdLst/>
            <a:ahLst/>
            <a:cxnLst/>
            <a:rect l="l" t="t" r="r" b="b"/>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2192861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94DFD4A-C58C-4389-9344-CB1D175806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494DFD4A-C58C-4389-9344-CB1D175806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Shape 397">
            <a:extLst>
              <a:ext uri="{FF2B5EF4-FFF2-40B4-BE49-F238E27FC236}">
                <a16:creationId xmlns:a16="http://schemas.microsoft.com/office/drawing/2014/main" id="{30B119FE-39A4-AF51-5505-F8FBE6EB1CAE}"/>
              </a:ext>
            </a:extLst>
          </p:cNvPr>
          <p:cNvSpPr>
            <a:spLocks noChangeAspect="1"/>
          </p:cNvSpPr>
          <p:nvPr/>
        </p:nvSpPr>
        <p:spPr>
          <a:xfrm>
            <a:off x="6877616"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5"/>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5" name="Shape 397">
            <a:extLst>
              <a:ext uri="{FF2B5EF4-FFF2-40B4-BE49-F238E27FC236}">
                <a16:creationId xmlns:a16="http://schemas.microsoft.com/office/drawing/2014/main" id="{737F0402-A836-5B93-FA1D-4D50E652A4E5}"/>
              </a:ext>
            </a:extLst>
          </p:cNvPr>
          <p:cNvSpPr>
            <a:spLocks noChangeAspect="1"/>
          </p:cNvSpPr>
          <p:nvPr/>
        </p:nvSpPr>
        <p:spPr>
          <a:xfrm>
            <a:off x="335774"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3"/>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6" name="Shape 397">
            <a:extLst>
              <a:ext uri="{FF2B5EF4-FFF2-40B4-BE49-F238E27FC236}">
                <a16:creationId xmlns:a16="http://schemas.microsoft.com/office/drawing/2014/main" id="{81FD2ADC-CB5B-083F-D7F1-08D2AB7FD1A5}"/>
              </a:ext>
            </a:extLst>
          </p:cNvPr>
          <p:cNvSpPr>
            <a:spLocks noChangeAspect="1"/>
          </p:cNvSpPr>
          <p:nvPr/>
        </p:nvSpPr>
        <p:spPr>
          <a:xfrm>
            <a:off x="6877616" y="3429000"/>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4"/>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3" name="Shape 397">
            <a:extLst>
              <a:ext uri="{FF2B5EF4-FFF2-40B4-BE49-F238E27FC236}">
                <a16:creationId xmlns:a16="http://schemas.microsoft.com/office/drawing/2014/main" id="{1C1390F2-77C4-A014-9EE3-80CFF837C093}"/>
              </a:ext>
            </a:extLst>
          </p:cNvPr>
          <p:cNvSpPr>
            <a:spLocks noChangeAspect="1"/>
          </p:cNvSpPr>
          <p:nvPr/>
        </p:nvSpPr>
        <p:spPr>
          <a:xfrm>
            <a:off x="335774" y="380246"/>
            <a:ext cx="4978610" cy="2650977"/>
          </a:xfrm>
          <a:custGeom>
            <a:avLst/>
            <a:gdLst/>
            <a:ahLst/>
            <a:cxnLst/>
            <a:rect l="0" t="0" r="0" b="0"/>
            <a:pathLst>
              <a:path w="65189" h="62358" extrusionOk="0">
                <a:moveTo>
                  <a:pt x="40283" y="1525"/>
                </a:moveTo>
                <a:lnTo>
                  <a:pt x="40000" y="1541"/>
                </a:lnTo>
                <a:lnTo>
                  <a:pt x="40000" y="1541"/>
                </a:lnTo>
                <a:lnTo>
                  <a:pt x="39811" y="1604"/>
                </a:lnTo>
                <a:lnTo>
                  <a:pt x="40283" y="1525"/>
                </a:lnTo>
                <a:close/>
                <a:moveTo>
                  <a:pt x="22547" y="1793"/>
                </a:moveTo>
                <a:lnTo>
                  <a:pt x="22359" y="1887"/>
                </a:lnTo>
                <a:lnTo>
                  <a:pt x="21981" y="2359"/>
                </a:lnTo>
                <a:lnTo>
                  <a:pt x="24057" y="1981"/>
                </a:lnTo>
                <a:lnTo>
                  <a:pt x="23208" y="2076"/>
                </a:lnTo>
                <a:lnTo>
                  <a:pt x="22925" y="1981"/>
                </a:lnTo>
                <a:lnTo>
                  <a:pt x="22642" y="1887"/>
                </a:lnTo>
                <a:lnTo>
                  <a:pt x="22642" y="1793"/>
                </a:lnTo>
                <a:close/>
                <a:moveTo>
                  <a:pt x="64528" y="13585"/>
                </a:moveTo>
                <a:lnTo>
                  <a:pt x="64528" y="13679"/>
                </a:lnTo>
                <a:lnTo>
                  <a:pt x="64551" y="13679"/>
                </a:lnTo>
                <a:lnTo>
                  <a:pt x="64528" y="13585"/>
                </a:lnTo>
                <a:close/>
                <a:moveTo>
                  <a:pt x="33868" y="58678"/>
                </a:moveTo>
                <a:lnTo>
                  <a:pt x="34057" y="58772"/>
                </a:lnTo>
                <a:lnTo>
                  <a:pt x="34057" y="58772"/>
                </a:lnTo>
                <a:lnTo>
                  <a:pt x="33962" y="58678"/>
                </a:lnTo>
                <a:close/>
                <a:moveTo>
                  <a:pt x="30849" y="58678"/>
                </a:moveTo>
                <a:lnTo>
                  <a:pt x="30943" y="58772"/>
                </a:lnTo>
                <a:lnTo>
                  <a:pt x="30283" y="58867"/>
                </a:lnTo>
                <a:lnTo>
                  <a:pt x="30472" y="58772"/>
                </a:lnTo>
                <a:lnTo>
                  <a:pt x="30849" y="58678"/>
                </a:lnTo>
                <a:close/>
                <a:moveTo>
                  <a:pt x="32264" y="59056"/>
                </a:moveTo>
                <a:lnTo>
                  <a:pt x="33113" y="59244"/>
                </a:lnTo>
                <a:lnTo>
                  <a:pt x="31698" y="59339"/>
                </a:lnTo>
                <a:lnTo>
                  <a:pt x="31415" y="59339"/>
                </a:lnTo>
                <a:lnTo>
                  <a:pt x="32264" y="59056"/>
                </a:lnTo>
                <a:close/>
                <a:moveTo>
                  <a:pt x="60849" y="0"/>
                </a:moveTo>
                <a:lnTo>
                  <a:pt x="58679" y="95"/>
                </a:lnTo>
                <a:lnTo>
                  <a:pt x="56792" y="189"/>
                </a:lnTo>
                <a:lnTo>
                  <a:pt x="58584" y="378"/>
                </a:lnTo>
                <a:lnTo>
                  <a:pt x="58301" y="189"/>
                </a:lnTo>
                <a:lnTo>
                  <a:pt x="59151" y="378"/>
                </a:lnTo>
                <a:lnTo>
                  <a:pt x="58679" y="472"/>
                </a:lnTo>
                <a:lnTo>
                  <a:pt x="58018" y="472"/>
                </a:lnTo>
                <a:lnTo>
                  <a:pt x="56792" y="283"/>
                </a:lnTo>
                <a:lnTo>
                  <a:pt x="55943" y="283"/>
                </a:lnTo>
                <a:lnTo>
                  <a:pt x="54528" y="378"/>
                </a:lnTo>
                <a:lnTo>
                  <a:pt x="50660" y="378"/>
                </a:lnTo>
                <a:lnTo>
                  <a:pt x="48585" y="472"/>
                </a:lnTo>
                <a:lnTo>
                  <a:pt x="46226" y="472"/>
                </a:lnTo>
                <a:lnTo>
                  <a:pt x="43868" y="283"/>
                </a:lnTo>
                <a:lnTo>
                  <a:pt x="44056" y="472"/>
                </a:lnTo>
                <a:lnTo>
                  <a:pt x="44339" y="472"/>
                </a:lnTo>
                <a:lnTo>
                  <a:pt x="43396" y="661"/>
                </a:lnTo>
                <a:lnTo>
                  <a:pt x="42170" y="849"/>
                </a:lnTo>
                <a:lnTo>
                  <a:pt x="40849" y="755"/>
                </a:lnTo>
                <a:lnTo>
                  <a:pt x="40377" y="661"/>
                </a:lnTo>
                <a:lnTo>
                  <a:pt x="39906" y="566"/>
                </a:lnTo>
                <a:lnTo>
                  <a:pt x="39717" y="566"/>
                </a:lnTo>
                <a:lnTo>
                  <a:pt x="38207" y="661"/>
                </a:lnTo>
                <a:lnTo>
                  <a:pt x="36509" y="944"/>
                </a:lnTo>
                <a:lnTo>
                  <a:pt x="34906" y="1132"/>
                </a:lnTo>
                <a:lnTo>
                  <a:pt x="33585" y="1132"/>
                </a:lnTo>
                <a:lnTo>
                  <a:pt x="33962" y="1038"/>
                </a:lnTo>
                <a:lnTo>
                  <a:pt x="33774" y="944"/>
                </a:lnTo>
                <a:lnTo>
                  <a:pt x="33396" y="944"/>
                </a:lnTo>
                <a:lnTo>
                  <a:pt x="32453" y="1038"/>
                </a:lnTo>
                <a:lnTo>
                  <a:pt x="30283" y="1321"/>
                </a:lnTo>
                <a:lnTo>
                  <a:pt x="30472" y="1415"/>
                </a:lnTo>
                <a:lnTo>
                  <a:pt x="30566" y="1510"/>
                </a:lnTo>
                <a:lnTo>
                  <a:pt x="29151" y="1604"/>
                </a:lnTo>
                <a:lnTo>
                  <a:pt x="29057" y="1698"/>
                </a:lnTo>
                <a:lnTo>
                  <a:pt x="29717" y="1698"/>
                </a:lnTo>
                <a:lnTo>
                  <a:pt x="28208" y="1793"/>
                </a:lnTo>
                <a:lnTo>
                  <a:pt x="27547" y="1793"/>
                </a:lnTo>
                <a:lnTo>
                  <a:pt x="27642" y="1698"/>
                </a:lnTo>
                <a:lnTo>
                  <a:pt x="28585" y="1510"/>
                </a:lnTo>
                <a:lnTo>
                  <a:pt x="27736" y="1604"/>
                </a:lnTo>
                <a:lnTo>
                  <a:pt x="26887" y="1698"/>
                </a:lnTo>
                <a:lnTo>
                  <a:pt x="26038" y="1698"/>
                </a:lnTo>
                <a:lnTo>
                  <a:pt x="25189" y="1793"/>
                </a:lnTo>
                <a:lnTo>
                  <a:pt x="25189" y="1793"/>
                </a:lnTo>
                <a:lnTo>
                  <a:pt x="25755" y="1698"/>
                </a:lnTo>
                <a:lnTo>
                  <a:pt x="24906" y="1793"/>
                </a:lnTo>
                <a:lnTo>
                  <a:pt x="24057" y="1981"/>
                </a:lnTo>
                <a:lnTo>
                  <a:pt x="25094" y="1887"/>
                </a:lnTo>
                <a:lnTo>
                  <a:pt x="26132" y="1981"/>
                </a:lnTo>
                <a:lnTo>
                  <a:pt x="24906" y="2264"/>
                </a:lnTo>
                <a:lnTo>
                  <a:pt x="23585" y="2359"/>
                </a:lnTo>
                <a:lnTo>
                  <a:pt x="23585" y="2453"/>
                </a:lnTo>
                <a:lnTo>
                  <a:pt x="23585" y="2547"/>
                </a:lnTo>
                <a:lnTo>
                  <a:pt x="25566" y="2359"/>
                </a:lnTo>
                <a:lnTo>
                  <a:pt x="27547" y="2264"/>
                </a:lnTo>
                <a:lnTo>
                  <a:pt x="29434" y="1981"/>
                </a:lnTo>
                <a:lnTo>
                  <a:pt x="30377" y="1793"/>
                </a:lnTo>
                <a:lnTo>
                  <a:pt x="31321" y="1604"/>
                </a:lnTo>
                <a:lnTo>
                  <a:pt x="30472" y="1887"/>
                </a:lnTo>
                <a:lnTo>
                  <a:pt x="30660" y="1981"/>
                </a:lnTo>
                <a:lnTo>
                  <a:pt x="31038" y="2076"/>
                </a:lnTo>
                <a:lnTo>
                  <a:pt x="31981" y="2170"/>
                </a:lnTo>
                <a:lnTo>
                  <a:pt x="33302" y="2170"/>
                </a:lnTo>
                <a:lnTo>
                  <a:pt x="34717" y="2076"/>
                </a:lnTo>
                <a:lnTo>
                  <a:pt x="37075" y="1887"/>
                </a:lnTo>
                <a:lnTo>
                  <a:pt x="37830" y="1793"/>
                </a:lnTo>
                <a:lnTo>
                  <a:pt x="37924" y="1698"/>
                </a:lnTo>
                <a:lnTo>
                  <a:pt x="38868" y="1604"/>
                </a:lnTo>
                <a:lnTo>
                  <a:pt x="38962" y="1510"/>
                </a:lnTo>
                <a:lnTo>
                  <a:pt x="38868" y="1510"/>
                </a:lnTo>
                <a:lnTo>
                  <a:pt x="38113" y="1415"/>
                </a:lnTo>
                <a:lnTo>
                  <a:pt x="40000" y="1510"/>
                </a:lnTo>
                <a:lnTo>
                  <a:pt x="38868" y="1604"/>
                </a:lnTo>
                <a:lnTo>
                  <a:pt x="40000" y="1541"/>
                </a:lnTo>
                <a:lnTo>
                  <a:pt x="40000" y="1541"/>
                </a:lnTo>
                <a:lnTo>
                  <a:pt x="40094" y="1510"/>
                </a:lnTo>
                <a:lnTo>
                  <a:pt x="40377" y="1510"/>
                </a:lnTo>
                <a:lnTo>
                  <a:pt x="40283" y="1525"/>
                </a:lnTo>
                <a:lnTo>
                  <a:pt x="40283" y="1525"/>
                </a:lnTo>
                <a:lnTo>
                  <a:pt x="40566" y="1510"/>
                </a:lnTo>
                <a:lnTo>
                  <a:pt x="41509" y="1604"/>
                </a:lnTo>
                <a:lnTo>
                  <a:pt x="44151" y="1415"/>
                </a:lnTo>
                <a:lnTo>
                  <a:pt x="45000" y="1321"/>
                </a:lnTo>
                <a:lnTo>
                  <a:pt x="44434" y="1321"/>
                </a:lnTo>
                <a:lnTo>
                  <a:pt x="45188" y="1132"/>
                </a:lnTo>
                <a:lnTo>
                  <a:pt x="45660" y="1227"/>
                </a:lnTo>
                <a:lnTo>
                  <a:pt x="45755" y="1227"/>
                </a:lnTo>
                <a:lnTo>
                  <a:pt x="45755" y="1321"/>
                </a:lnTo>
                <a:lnTo>
                  <a:pt x="45377" y="1321"/>
                </a:lnTo>
                <a:lnTo>
                  <a:pt x="46038" y="1415"/>
                </a:lnTo>
                <a:lnTo>
                  <a:pt x="46792" y="1321"/>
                </a:lnTo>
                <a:lnTo>
                  <a:pt x="46792" y="1227"/>
                </a:lnTo>
                <a:lnTo>
                  <a:pt x="46981" y="1321"/>
                </a:lnTo>
                <a:lnTo>
                  <a:pt x="47547" y="1321"/>
                </a:lnTo>
                <a:lnTo>
                  <a:pt x="47358" y="1510"/>
                </a:lnTo>
                <a:lnTo>
                  <a:pt x="46981" y="1510"/>
                </a:lnTo>
                <a:lnTo>
                  <a:pt x="46792" y="1415"/>
                </a:lnTo>
                <a:lnTo>
                  <a:pt x="43868" y="1698"/>
                </a:lnTo>
                <a:lnTo>
                  <a:pt x="45566" y="1698"/>
                </a:lnTo>
                <a:lnTo>
                  <a:pt x="47264" y="1604"/>
                </a:lnTo>
                <a:lnTo>
                  <a:pt x="50566" y="1321"/>
                </a:lnTo>
                <a:lnTo>
                  <a:pt x="52169" y="1227"/>
                </a:lnTo>
                <a:lnTo>
                  <a:pt x="55471" y="1227"/>
                </a:lnTo>
                <a:lnTo>
                  <a:pt x="57075" y="1415"/>
                </a:lnTo>
                <a:lnTo>
                  <a:pt x="56603" y="1321"/>
                </a:lnTo>
                <a:lnTo>
                  <a:pt x="56509" y="1227"/>
                </a:lnTo>
                <a:lnTo>
                  <a:pt x="57264" y="1132"/>
                </a:lnTo>
                <a:lnTo>
                  <a:pt x="58396" y="1227"/>
                </a:lnTo>
                <a:lnTo>
                  <a:pt x="58773" y="1227"/>
                </a:lnTo>
                <a:lnTo>
                  <a:pt x="58962" y="1321"/>
                </a:lnTo>
                <a:lnTo>
                  <a:pt x="59905" y="1321"/>
                </a:lnTo>
                <a:lnTo>
                  <a:pt x="61037" y="1510"/>
                </a:lnTo>
                <a:lnTo>
                  <a:pt x="61603" y="1698"/>
                </a:lnTo>
                <a:lnTo>
                  <a:pt x="62075" y="1887"/>
                </a:lnTo>
                <a:lnTo>
                  <a:pt x="62452" y="2076"/>
                </a:lnTo>
                <a:lnTo>
                  <a:pt x="62547" y="2359"/>
                </a:lnTo>
                <a:lnTo>
                  <a:pt x="62641" y="4528"/>
                </a:lnTo>
                <a:lnTo>
                  <a:pt x="62641" y="8113"/>
                </a:lnTo>
                <a:lnTo>
                  <a:pt x="62547" y="17547"/>
                </a:lnTo>
                <a:lnTo>
                  <a:pt x="62547" y="22547"/>
                </a:lnTo>
                <a:lnTo>
                  <a:pt x="62641" y="27075"/>
                </a:lnTo>
                <a:lnTo>
                  <a:pt x="62830" y="30849"/>
                </a:lnTo>
                <a:lnTo>
                  <a:pt x="62924" y="32169"/>
                </a:lnTo>
                <a:lnTo>
                  <a:pt x="63113" y="33207"/>
                </a:lnTo>
                <a:lnTo>
                  <a:pt x="63113" y="34528"/>
                </a:lnTo>
                <a:lnTo>
                  <a:pt x="63207" y="35943"/>
                </a:lnTo>
                <a:lnTo>
                  <a:pt x="63207" y="36886"/>
                </a:lnTo>
                <a:lnTo>
                  <a:pt x="63113" y="38396"/>
                </a:lnTo>
                <a:lnTo>
                  <a:pt x="62830" y="42358"/>
                </a:lnTo>
                <a:lnTo>
                  <a:pt x="62547" y="46509"/>
                </a:lnTo>
                <a:lnTo>
                  <a:pt x="62452" y="48207"/>
                </a:lnTo>
                <a:lnTo>
                  <a:pt x="62547" y="49527"/>
                </a:lnTo>
                <a:lnTo>
                  <a:pt x="62547" y="51131"/>
                </a:lnTo>
                <a:lnTo>
                  <a:pt x="62547" y="52735"/>
                </a:lnTo>
                <a:lnTo>
                  <a:pt x="62358" y="53584"/>
                </a:lnTo>
                <a:lnTo>
                  <a:pt x="62264" y="54339"/>
                </a:lnTo>
                <a:lnTo>
                  <a:pt x="61981" y="55093"/>
                </a:lnTo>
                <a:lnTo>
                  <a:pt x="61603" y="55754"/>
                </a:lnTo>
                <a:lnTo>
                  <a:pt x="61792" y="55754"/>
                </a:lnTo>
                <a:lnTo>
                  <a:pt x="61886" y="55565"/>
                </a:lnTo>
                <a:lnTo>
                  <a:pt x="62169" y="55376"/>
                </a:lnTo>
                <a:lnTo>
                  <a:pt x="62264" y="55565"/>
                </a:lnTo>
                <a:lnTo>
                  <a:pt x="62169" y="55754"/>
                </a:lnTo>
                <a:lnTo>
                  <a:pt x="61981" y="56225"/>
                </a:lnTo>
                <a:lnTo>
                  <a:pt x="61792" y="56037"/>
                </a:lnTo>
                <a:lnTo>
                  <a:pt x="61509" y="55754"/>
                </a:lnTo>
                <a:lnTo>
                  <a:pt x="61603" y="55942"/>
                </a:lnTo>
                <a:lnTo>
                  <a:pt x="61509" y="55942"/>
                </a:lnTo>
                <a:lnTo>
                  <a:pt x="61603" y="56037"/>
                </a:lnTo>
                <a:lnTo>
                  <a:pt x="60094" y="56320"/>
                </a:lnTo>
                <a:lnTo>
                  <a:pt x="58773" y="56414"/>
                </a:lnTo>
                <a:lnTo>
                  <a:pt x="57547" y="56508"/>
                </a:lnTo>
                <a:lnTo>
                  <a:pt x="56415" y="56508"/>
                </a:lnTo>
                <a:lnTo>
                  <a:pt x="56698" y="56320"/>
                </a:lnTo>
                <a:lnTo>
                  <a:pt x="56698" y="56320"/>
                </a:lnTo>
                <a:lnTo>
                  <a:pt x="56037" y="56508"/>
                </a:lnTo>
                <a:lnTo>
                  <a:pt x="54811" y="56886"/>
                </a:lnTo>
                <a:lnTo>
                  <a:pt x="53679" y="57074"/>
                </a:lnTo>
                <a:lnTo>
                  <a:pt x="53868" y="56791"/>
                </a:lnTo>
                <a:lnTo>
                  <a:pt x="54245" y="56697"/>
                </a:lnTo>
                <a:lnTo>
                  <a:pt x="53019" y="56886"/>
                </a:lnTo>
                <a:lnTo>
                  <a:pt x="51698" y="56980"/>
                </a:lnTo>
                <a:lnTo>
                  <a:pt x="50943" y="57074"/>
                </a:lnTo>
                <a:lnTo>
                  <a:pt x="51132" y="57169"/>
                </a:lnTo>
                <a:lnTo>
                  <a:pt x="48962" y="57452"/>
                </a:lnTo>
                <a:lnTo>
                  <a:pt x="48962" y="57357"/>
                </a:lnTo>
                <a:lnTo>
                  <a:pt x="48019" y="57452"/>
                </a:lnTo>
                <a:lnTo>
                  <a:pt x="47641" y="57452"/>
                </a:lnTo>
                <a:lnTo>
                  <a:pt x="46604" y="57546"/>
                </a:lnTo>
                <a:lnTo>
                  <a:pt x="44717" y="57546"/>
                </a:lnTo>
                <a:lnTo>
                  <a:pt x="44339" y="57452"/>
                </a:lnTo>
                <a:lnTo>
                  <a:pt x="45000" y="57263"/>
                </a:lnTo>
                <a:lnTo>
                  <a:pt x="40000" y="57829"/>
                </a:lnTo>
                <a:lnTo>
                  <a:pt x="38019" y="58206"/>
                </a:lnTo>
                <a:lnTo>
                  <a:pt x="37547" y="58018"/>
                </a:lnTo>
                <a:lnTo>
                  <a:pt x="37075" y="58018"/>
                </a:lnTo>
                <a:lnTo>
                  <a:pt x="36698" y="58112"/>
                </a:lnTo>
                <a:lnTo>
                  <a:pt x="36415" y="58301"/>
                </a:lnTo>
                <a:lnTo>
                  <a:pt x="36038" y="58301"/>
                </a:lnTo>
                <a:lnTo>
                  <a:pt x="36038" y="58395"/>
                </a:lnTo>
                <a:lnTo>
                  <a:pt x="36321" y="58395"/>
                </a:lnTo>
                <a:lnTo>
                  <a:pt x="36132" y="58678"/>
                </a:lnTo>
                <a:lnTo>
                  <a:pt x="37075" y="58678"/>
                </a:lnTo>
                <a:lnTo>
                  <a:pt x="37830" y="58584"/>
                </a:lnTo>
                <a:lnTo>
                  <a:pt x="38585" y="58489"/>
                </a:lnTo>
                <a:lnTo>
                  <a:pt x="39434" y="58489"/>
                </a:lnTo>
                <a:lnTo>
                  <a:pt x="38585" y="58867"/>
                </a:lnTo>
                <a:lnTo>
                  <a:pt x="37358" y="59244"/>
                </a:lnTo>
                <a:lnTo>
                  <a:pt x="36792" y="59339"/>
                </a:lnTo>
                <a:lnTo>
                  <a:pt x="36226" y="59339"/>
                </a:lnTo>
                <a:lnTo>
                  <a:pt x="35755" y="59244"/>
                </a:lnTo>
                <a:lnTo>
                  <a:pt x="35566" y="59056"/>
                </a:lnTo>
                <a:lnTo>
                  <a:pt x="35472" y="58867"/>
                </a:lnTo>
                <a:lnTo>
                  <a:pt x="36509" y="58772"/>
                </a:lnTo>
                <a:lnTo>
                  <a:pt x="35377" y="58678"/>
                </a:lnTo>
                <a:lnTo>
                  <a:pt x="34151" y="58772"/>
                </a:lnTo>
                <a:lnTo>
                  <a:pt x="34057" y="58772"/>
                </a:lnTo>
                <a:lnTo>
                  <a:pt x="33208" y="58961"/>
                </a:lnTo>
                <a:lnTo>
                  <a:pt x="32264" y="59056"/>
                </a:lnTo>
                <a:lnTo>
                  <a:pt x="32264" y="59056"/>
                </a:lnTo>
                <a:lnTo>
                  <a:pt x="33113" y="58867"/>
                </a:lnTo>
                <a:lnTo>
                  <a:pt x="31887" y="58489"/>
                </a:lnTo>
                <a:lnTo>
                  <a:pt x="31132" y="58395"/>
                </a:lnTo>
                <a:lnTo>
                  <a:pt x="31038" y="58301"/>
                </a:lnTo>
                <a:lnTo>
                  <a:pt x="31132" y="58301"/>
                </a:lnTo>
                <a:lnTo>
                  <a:pt x="31509" y="58206"/>
                </a:lnTo>
                <a:lnTo>
                  <a:pt x="30660" y="58206"/>
                </a:lnTo>
                <a:lnTo>
                  <a:pt x="30283" y="58301"/>
                </a:lnTo>
                <a:lnTo>
                  <a:pt x="29906" y="58489"/>
                </a:lnTo>
                <a:lnTo>
                  <a:pt x="29151" y="58678"/>
                </a:lnTo>
                <a:lnTo>
                  <a:pt x="29340" y="58584"/>
                </a:lnTo>
                <a:lnTo>
                  <a:pt x="29434" y="58395"/>
                </a:lnTo>
                <a:lnTo>
                  <a:pt x="29434" y="58395"/>
                </a:lnTo>
                <a:lnTo>
                  <a:pt x="28585" y="58489"/>
                </a:lnTo>
                <a:lnTo>
                  <a:pt x="28491" y="58584"/>
                </a:lnTo>
                <a:lnTo>
                  <a:pt x="28396" y="58678"/>
                </a:lnTo>
                <a:lnTo>
                  <a:pt x="27736" y="58867"/>
                </a:lnTo>
                <a:lnTo>
                  <a:pt x="25660" y="59150"/>
                </a:lnTo>
                <a:lnTo>
                  <a:pt x="22170" y="59622"/>
                </a:lnTo>
                <a:lnTo>
                  <a:pt x="22359" y="59527"/>
                </a:lnTo>
                <a:lnTo>
                  <a:pt x="22359" y="59433"/>
                </a:lnTo>
                <a:lnTo>
                  <a:pt x="22264" y="59433"/>
                </a:lnTo>
                <a:lnTo>
                  <a:pt x="22453" y="59244"/>
                </a:lnTo>
                <a:lnTo>
                  <a:pt x="22453" y="59056"/>
                </a:lnTo>
                <a:lnTo>
                  <a:pt x="21132" y="59339"/>
                </a:lnTo>
                <a:lnTo>
                  <a:pt x="19246" y="59716"/>
                </a:lnTo>
                <a:lnTo>
                  <a:pt x="18208" y="59810"/>
                </a:lnTo>
                <a:lnTo>
                  <a:pt x="17264" y="59905"/>
                </a:lnTo>
                <a:lnTo>
                  <a:pt x="16415" y="59905"/>
                </a:lnTo>
                <a:lnTo>
                  <a:pt x="15849" y="59810"/>
                </a:lnTo>
                <a:lnTo>
                  <a:pt x="14246" y="59810"/>
                </a:lnTo>
                <a:lnTo>
                  <a:pt x="11981" y="59999"/>
                </a:lnTo>
                <a:lnTo>
                  <a:pt x="11981" y="59999"/>
                </a:lnTo>
                <a:lnTo>
                  <a:pt x="12359" y="59905"/>
                </a:lnTo>
                <a:lnTo>
                  <a:pt x="12736" y="59716"/>
                </a:lnTo>
                <a:lnTo>
                  <a:pt x="11415" y="59905"/>
                </a:lnTo>
                <a:lnTo>
                  <a:pt x="10000" y="60093"/>
                </a:lnTo>
                <a:lnTo>
                  <a:pt x="7076" y="60188"/>
                </a:lnTo>
                <a:lnTo>
                  <a:pt x="4151" y="60376"/>
                </a:lnTo>
                <a:lnTo>
                  <a:pt x="2831" y="60471"/>
                </a:lnTo>
                <a:lnTo>
                  <a:pt x="1604" y="60659"/>
                </a:lnTo>
                <a:lnTo>
                  <a:pt x="1227" y="59244"/>
                </a:lnTo>
                <a:lnTo>
                  <a:pt x="1038" y="57735"/>
                </a:lnTo>
                <a:lnTo>
                  <a:pt x="850" y="56131"/>
                </a:lnTo>
                <a:lnTo>
                  <a:pt x="755" y="54433"/>
                </a:lnTo>
                <a:lnTo>
                  <a:pt x="755" y="52735"/>
                </a:lnTo>
                <a:lnTo>
                  <a:pt x="755" y="50942"/>
                </a:lnTo>
                <a:lnTo>
                  <a:pt x="1038" y="47263"/>
                </a:lnTo>
                <a:lnTo>
                  <a:pt x="1321" y="43678"/>
                </a:lnTo>
                <a:lnTo>
                  <a:pt x="1699" y="39999"/>
                </a:lnTo>
                <a:lnTo>
                  <a:pt x="2453" y="33301"/>
                </a:lnTo>
                <a:lnTo>
                  <a:pt x="2548" y="33962"/>
                </a:lnTo>
                <a:lnTo>
                  <a:pt x="2642" y="34622"/>
                </a:lnTo>
                <a:lnTo>
                  <a:pt x="2642" y="33018"/>
                </a:lnTo>
                <a:lnTo>
                  <a:pt x="2551" y="32287"/>
                </a:lnTo>
                <a:lnTo>
                  <a:pt x="2642" y="30000"/>
                </a:lnTo>
                <a:lnTo>
                  <a:pt x="2453" y="30377"/>
                </a:lnTo>
                <a:lnTo>
                  <a:pt x="2453" y="29245"/>
                </a:lnTo>
                <a:lnTo>
                  <a:pt x="2453" y="27830"/>
                </a:lnTo>
                <a:lnTo>
                  <a:pt x="2642" y="28301"/>
                </a:lnTo>
                <a:lnTo>
                  <a:pt x="2736" y="28018"/>
                </a:lnTo>
                <a:lnTo>
                  <a:pt x="2831" y="28018"/>
                </a:lnTo>
                <a:lnTo>
                  <a:pt x="2925" y="28207"/>
                </a:lnTo>
                <a:lnTo>
                  <a:pt x="3019" y="26415"/>
                </a:lnTo>
                <a:lnTo>
                  <a:pt x="3019" y="24811"/>
                </a:lnTo>
                <a:lnTo>
                  <a:pt x="3019" y="23113"/>
                </a:lnTo>
                <a:lnTo>
                  <a:pt x="3019" y="22170"/>
                </a:lnTo>
                <a:lnTo>
                  <a:pt x="3208" y="21320"/>
                </a:lnTo>
                <a:lnTo>
                  <a:pt x="3302" y="19528"/>
                </a:lnTo>
                <a:lnTo>
                  <a:pt x="3302" y="17641"/>
                </a:lnTo>
                <a:lnTo>
                  <a:pt x="3302" y="16887"/>
                </a:lnTo>
                <a:lnTo>
                  <a:pt x="3208" y="16321"/>
                </a:lnTo>
                <a:lnTo>
                  <a:pt x="3397" y="16415"/>
                </a:lnTo>
                <a:lnTo>
                  <a:pt x="3585" y="11981"/>
                </a:lnTo>
                <a:lnTo>
                  <a:pt x="3680" y="11415"/>
                </a:lnTo>
                <a:lnTo>
                  <a:pt x="3680" y="11698"/>
                </a:lnTo>
                <a:lnTo>
                  <a:pt x="3774" y="11132"/>
                </a:lnTo>
                <a:lnTo>
                  <a:pt x="3868" y="10660"/>
                </a:lnTo>
                <a:lnTo>
                  <a:pt x="3774" y="10094"/>
                </a:lnTo>
                <a:lnTo>
                  <a:pt x="3680" y="9623"/>
                </a:lnTo>
                <a:lnTo>
                  <a:pt x="3774" y="9434"/>
                </a:lnTo>
                <a:lnTo>
                  <a:pt x="3868" y="9245"/>
                </a:lnTo>
                <a:lnTo>
                  <a:pt x="4057" y="8491"/>
                </a:lnTo>
                <a:lnTo>
                  <a:pt x="4340" y="6321"/>
                </a:lnTo>
                <a:lnTo>
                  <a:pt x="4623" y="2264"/>
                </a:lnTo>
                <a:lnTo>
                  <a:pt x="3491" y="7170"/>
                </a:lnTo>
                <a:lnTo>
                  <a:pt x="2925" y="9906"/>
                </a:lnTo>
                <a:lnTo>
                  <a:pt x="2359" y="12736"/>
                </a:lnTo>
                <a:lnTo>
                  <a:pt x="1982" y="15377"/>
                </a:lnTo>
                <a:lnTo>
                  <a:pt x="1699" y="17830"/>
                </a:lnTo>
                <a:lnTo>
                  <a:pt x="1510" y="19905"/>
                </a:lnTo>
                <a:lnTo>
                  <a:pt x="1604" y="20754"/>
                </a:lnTo>
                <a:lnTo>
                  <a:pt x="1699" y="21509"/>
                </a:lnTo>
                <a:lnTo>
                  <a:pt x="1321" y="22453"/>
                </a:lnTo>
                <a:lnTo>
                  <a:pt x="1133" y="23585"/>
                </a:lnTo>
                <a:lnTo>
                  <a:pt x="1038" y="24905"/>
                </a:lnTo>
                <a:lnTo>
                  <a:pt x="1038" y="26226"/>
                </a:lnTo>
                <a:lnTo>
                  <a:pt x="1038" y="28962"/>
                </a:lnTo>
                <a:lnTo>
                  <a:pt x="1038" y="31415"/>
                </a:lnTo>
                <a:lnTo>
                  <a:pt x="661" y="40188"/>
                </a:lnTo>
                <a:lnTo>
                  <a:pt x="472" y="44999"/>
                </a:lnTo>
                <a:lnTo>
                  <a:pt x="378" y="49622"/>
                </a:lnTo>
                <a:lnTo>
                  <a:pt x="472" y="51603"/>
                </a:lnTo>
                <a:lnTo>
                  <a:pt x="378" y="53961"/>
                </a:lnTo>
                <a:lnTo>
                  <a:pt x="189" y="53301"/>
                </a:lnTo>
                <a:lnTo>
                  <a:pt x="95" y="52641"/>
                </a:lnTo>
                <a:lnTo>
                  <a:pt x="189" y="53867"/>
                </a:lnTo>
                <a:lnTo>
                  <a:pt x="189" y="55093"/>
                </a:lnTo>
                <a:lnTo>
                  <a:pt x="378" y="55188"/>
                </a:lnTo>
                <a:lnTo>
                  <a:pt x="284" y="56508"/>
                </a:lnTo>
                <a:lnTo>
                  <a:pt x="95" y="54905"/>
                </a:lnTo>
                <a:lnTo>
                  <a:pt x="1" y="58489"/>
                </a:lnTo>
                <a:lnTo>
                  <a:pt x="1" y="62357"/>
                </a:lnTo>
                <a:lnTo>
                  <a:pt x="6038" y="61886"/>
                </a:lnTo>
                <a:lnTo>
                  <a:pt x="8963" y="61697"/>
                </a:lnTo>
                <a:lnTo>
                  <a:pt x="11698" y="61603"/>
                </a:lnTo>
                <a:lnTo>
                  <a:pt x="11698" y="61414"/>
                </a:lnTo>
                <a:lnTo>
                  <a:pt x="11887" y="61225"/>
                </a:lnTo>
                <a:lnTo>
                  <a:pt x="12264" y="61225"/>
                </a:lnTo>
                <a:lnTo>
                  <a:pt x="12548" y="61320"/>
                </a:lnTo>
                <a:lnTo>
                  <a:pt x="12736" y="61414"/>
                </a:lnTo>
                <a:lnTo>
                  <a:pt x="12642" y="61320"/>
                </a:lnTo>
                <a:lnTo>
                  <a:pt x="13302" y="61508"/>
                </a:lnTo>
                <a:lnTo>
                  <a:pt x="13302" y="61508"/>
                </a:lnTo>
                <a:lnTo>
                  <a:pt x="12736" y="61414"/>
                </a:lnTo>
                <a:lnTo>
                  <a:pt x="13019" y="61508"/>
                </a:lnTo>
                <a:lnTo>
                  <a:pt x="12736" y="61603"/>
                </a:lnTo>
                <a:lnTo>
                  <a:pt x="12831" y="61697"/>
                </a:lnTo>
                <a:lnTo>
                  <a:pt x="14246" y="61508"/>
                </a:lnTo>
                <a:lnTo>
                  <a:pt x="13491" y="61508"/>
                </a:lnTo>
                <a:lnTo>
                  <a:pt x="14717" y="61225"/>
                </a:lnTo>
                <a:lnTo>
                  <a:pt x="16038" y="61131"/>
                </a:lnTo>
                <a:lnTo>
                  <a:pt x="18962" y="61131"/>
                </a:lnTo>
                <a:lnTo>
                  <a:pt x="19151" y="61225"/>
                </a:lnTo>
                <a:lnTo>
                  <a:pt x="19623" y="61320"/>
                </a:lnTo>
                <a:lnTo>
                  <a:pt x="21227" y="61320"/>
                </a:lnTo>
                <a:lnTo>
                  <a:pt x="23302" y="61225"/>
                </a:lnTo>
                <a:lnTo>
                  <a:pt x="24245" y="61131"/>
                </a:lnTo>
                <a:lnTo>
                  <a:pt x="25094" y="60942"/>
                </a:lnTo>
                <a:lnTo>
                  <a:pt x="28868" y="60848"/>
                </a:lnTo>
                <a:lnTo>
                  <a:pt x="32642" y="60659"/>
                </a:lnTo>
                <a:lnTo>
                  <a:pt x="36415" y="60376"/>
                </a:lnTo>
                <a:lnTo>
                  <a:pt x="40283" y="60093"/>
                </a:lnTo>
                <a:lnTo>
                  <a:pt x="47830" y="59339"/>
                </a:lnTo>
                <a:lnTo>
                  <a:pt x="55377" y="58678"/>
                </a:lnTo>
                <a:lnTo>
                  <a:pt x="61037" y="58678"/>
                </a:lnTo>
                <a:lnTo>
                  <a:pt x="62264" y="58584"/>
                </a:lnTo>
                <a:lnTo>
                  <a:pt x="63207" y="58395"/>
                </a:lnTo>
                <a:lnTo>
                  <a:pt x="63490" y="58206"/>
                </a:lnTo>
                <a:lnTo>
                  <a:pt x="63773" y="58018"/>
                </a:lnTo>
                <a:lnTo>
                  <a:pt x="63962" y="57735"/>
                </a:lnTo>
                <a:lnTo>
                  <a:pt x="64150" y="57357"/>
                </a:lnTo>
                <a:lnTo>
                  <a:pt x="64339" y="56225"/>
                </a:lnTo>
                <a:lnTo>
                  <a:pt x="64528" y="54716"/>
                </a:lnTo>
                <a:lnTo>
                  <a:pt x="64528" y="53018"/>
                </a:lnTo>
                <a:lnTo>
                  <a:pt x="64622" y="49810"/>
                </a:lnTo>
                <a:lnTo>
                  <a:pt x="64622" y="47546"/>
                </a:lnTo>
                <a:lnTo>
                  <a:pt x="64905" y="40848"/>
                </a:lnTo>
                <a:lnTo>
                  <a:pt x="64999" y="36320"/>
                </a:lnTo>
                <a:lnTo>
                  <a:pt x="65094" y="33301"/>
                </a:lnTo>
                <a:lnTo>
                  <a:pt x="65188" y="33396"/>
                </a:lnTo>
                <a:lnTo>
                  <a:pt x="65188" y="31603"/>
                </a:lnTo>
                <a:lnTo>
                  <a:pt x="65188" y="29811"/>
                </a:lnTo>
                <a:lnTo>
                  <a:pt x="65094" y="30660"/>
                </a:lnTo>
                <a:lnTo>
                  <a:pt x="64905" y="28301"/>
                </a:lnTo>
                <a:lnTo>
                  <a:pt x="64811" y="25849"/>
                </a:lnTo>
                <a:lnTo>
                  <a:pt x="64716" y="23302"/>
                </a:lnTo>
                <a:lnTo>
                  <a:pt x="64622" y="20849"/>
                </a:lnTo>
                <a:lnTo>
                  <a:pt x="64811" y="22075"/>
                </a:lnTo>
                <a:lnTo>
                  <a:pt x="64811" y="20754"/>
                </a:lnTo>
                <a:lnTo>
                  <a:pt x="64811" y="18962"/>
                </a:lnTo>
                <a:lnTo>
                  <a:pt x="64811" y="18868"/>
                </a:lnTo>
                <a:lnTo>
                  <a:pt x="64716" y="17358"/>
                </a:lnTo>
                <a:lnTo>
                  <a:pt x="64811" y="18113"/>
                </a:lnTo>
                <a:lnTo>
                  <a:pt x="64999" y="16981"/>
                </a:lnTo>
                <a:lnTo>
                  <a:pt x="64905" y="15755"/>
                </a:lnTo>
                <a:lnTo>
                  <a:pt x="64811" y="14528"/>
                </a:lnTo>
                <a:lnTo>
                  <a:pt x="64716" y="13396"/>
                </a:lnTo>
                <a:lnTo>
                  <a:pt x="64622" y="13679"/>
                </a:lnTo>
                <a:lnTo>
                  <a:pt x="64551" y="13679"/>
                </a:lnTo>
                <a:lnTo>
                  <a:pt x="64622" y="13962"/>
                </a:lnTo>
                <a:lnTo>
                  <a:pt x="64716" y="15000"/>
                </a:lnTo>
                <a:lnTo>
                  <a:pt x="64528" y="14623"/>
                </a:lnTo>
                <a:lnTo>
                  <a:pt x="64528" y="15094"/>
                </a:lnTo>
                <a:lnTo>
                  <a:pt x="64339" y="12736"/>
                </a:lnTo>
                <a:lnTo>
                  <a:pt x="64150" y="11698"/>
                </a:lnTo>
                <a:lnTo>
                  <a:pt x="64056" y="11604"/>
                </a:lnTo>
                <a:lnTo>
                  <a:pt x="64056" y="11226"/>
                </a:lnTo>
                <a:lnTo>
                  <a:pt x="64245" y="10566"/>
                </a:lnTo>
                <a:lnTo>
                  <a:pt x="64245" y="9811"/>
                </a:lnTo>
                <a:lnTo>
                  <a:pt x="64245" y="9560"/>
                </a:lnTo>
                <a:lnTo>
                  <a:pt x="64433" y="10189"/>
                </a:lnTo>
                <a:lnTo>
                  <a:pt x="64622" y="11604"/>
                </a:lnTo>
                <a:lnTo>
                  <a:pt x="64811" y="13019"/>
                </a:lnTo>
                <a:lnTo>
                  <a:pt x="64905" y="14151"/>
                </a:lnTo>
                <a:lnTo>
                  <a:pt x="64905" y="12830"/>
                </a:lnTo>
                <a:lnTo>
                  <a:pt x="64811" y="11698"/>
                </a:lnTo>
                <a:lnTo>
                  <a:pt x="64528" y="9340"/>
                </a:lnTo>
                <a:lnTo>
                  <a:pt x="64433" y="9528"/>
                </a:lnTo>
                <a:lnTo>
                  <a:pt x="64433" y="9340"/>
                </a:lnTo>
                <a:lnTo>
                  <a:pt x="64245" y="8585"/>
                </a:lnTo>
                <a:lnTo>
                  <a:pt x="64150" y="7264"/>
                </a:lnTo>
                <a:lnTo>
                  <a:pt x="64056" y="9434"/>
                </a:lnTo>
                <a:lnTo>
                  <a:pt x="63773" y="8868"/>
                </a:lnTo>
                <a:lnTo>
                  <a:pt x="63679" y="7925"/>
                </a:lnTo>
                <a:lnTo>
                  <a:pt x="63584" y="6792"/>
                </a:lnTo>
                <a:lnTo>
                  <a:pt x="63490" y="5566"/>
                </a:lnTo>
                <a:lnTo>
                  <a:pt x="63490" y="1227"/>
                </a:lnTo>
                <a:lnTo>
                  <a:pt x="63490" y="661"/>
                </a:lnTo>
                <a:lnTo>
                  <a:pt x="63396" y="566"/>
                </a:lnTo>
                <a:lnTo>
                  <a:pt x="63207" y="378"/>
                </a:lnTo>
                <a:lnTo>
                  <a:pt x="62641" y="189"/>
                </a:lnTo>
                <a:lnTo>
                  <a:pt x="61792" y="95"/>
                </a:lnTo>
                <a:lnTo>
                  <a:pt x="60849" y="0"/>
                </a:lnTo>
                <a:close/>
              </a:path>
            </a:pathLst>
          </a:custGeom>
          <a:solidFill>
            <a:schemeClr val="accent2"/>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39" name="TextBox 38">
            <a:extLst>
              <a:ext uri="{FF2B5EF4-FFF2-40B4-BE49-F238E27FC236}">
                <a16:creationId xmlns:a16="http://schemas.microsoft.com/office/drawing/2014/main" id="{1322A687-9B08-9575-DBA6-301D64EDD270}"/>
              </a:ext>
            </a:extLst>
          </p:cNvPr>
          <p:cNvSpPr txBox="1"/>
          <p:nvPr/>
        </p:nvSpPr>
        <p:spPr>
          <a:xfrm>
            <a:off x="4499572" y="1705734"/>
            <a:ext cx="3449371" cy="3065442"/>
          </a:xfrm>
          <a:prstGeom prst="rect">
            <a:avLst/>
          </a:prstGeom>
          <a:solidFill>
            <a:srgbClr val="E6E6E6"/>
          </a:solidFill>
        </p:spPr>
        <p:txBody>
          <a:bodyPr wrap="square" lIns="0" tIns="0" rIns="0" bIns="0" rtlCol="0">
            <a:spAutoFit/>
          </a:bodyPr>
          <a:lstStyle/>
          <a:p>
            <a:endParaRPr lang="da-DK" sz="2000" err="1"/>
          </a:p>
        </p:txBody>
      </p:sp>
      <p:sp>
        <p:nvSpPr>
          <p:cNvPr id="38" name="Shape 396">
            <a:extLst>
              <a:ext uri="{FF2B5EF4-FFF2-40B4-BE49-F238E27FC236}">
                <a16:creationId xmlns:a16="http://schemas.microsoft.com/office/drawing/2014/main" id="{123D5526-0ACA-7636-CC6E-9BFEC9A99261}"/>
              </a:ext>
            </a:extLst>
          </p:cNvPr>
          <p:cNvSpPr>
            <a:spLocks noChangeAspect="1"/>
          </p:cNvSpPr>
          <p:nvPr/>
        </p:nvSpPr>
        <p:spPr>
          <a:xfrm>
            <a:off x="4573834" y="1904623"/>
            <a:ext cx="3044332" cy="2650977"/>
          </a:xfrm>
          <a:custGeom>
            <a:avLst/>
            <a:gdLst/>
            <a:ahLst/>
            <a:cxnLst/>
            <a:rect l="0" t="0" r="0" b="0"/>
            <a:pathLst>
              <a:path w="73112" h="68207" extrusionOk="0">
                <a:moveTo>
                  <a:pt x="46809" y="1210"/>
                </a:moveTo>
                <a:lnTo>
                  <a:pt x="46886" y="1227"/>
                </a:lnTo>
                <a:lnTo>
                  <a:pt x="46886" y="1227"/>
                </a:lnTo>
                <a:lnTo>
                  <a:pt x="46866" y="1215"/>
                </a:lnTo>
                <a:lnTo>
                  <a:pt x="46809" y="1210"/>
                </a:lnTo>
                <a:close/>
                <a:moveTo>
                  <a:pt x="35754" y="1982"/>
                </a:moveTo>
                <a:lnTo>
                  <a:pt x="36320" y="2170"/>
                </a:lnTo>
                <a:lnTo>
                  <a:pt x="36037" y="2170"/>
                </a:lnTo>
                <a:lnTo>
                  <a:pt x="35660" y="2076"/>
                </a:lnTo>
                <a:lnTo>
                  <a:pt x="35754" y="1982"/>
                </a:lnTo>
                <a:close/>
                <a:moveTo>
                  <a:pt x="42641" y="1321"/>
                </a:moveTo>
                <a:lnTo>
                  <a:pt x="44622" y="1510"/>
                </a:lnTo>
                <a:lnTo>
                  <a:pt x="46603" y="1793"/>
                </a:lnTo>
                <a:lnTo>
                  <a:pt x="46226" y="1793"/>
                </a:lnTo>
                <a:lnTo>
                  <a:pt x="46320" y="1982"/>
                </a:lnTo>
                <a:lnTo>
                  <a:pt x="45660" y="1793"/>
                </a:lnTo>
                <a:lnTo>
                  <a:pt x="44905" y="1699"/>
                </a:lnTo>
                <a:lnTo>
                  <a:pt x="44905" y="1699"/>
                </a:lnTo>
                <a:lnTo>
                  <a:pt x="45188" y="2076"/>
                </a:lnTo>
                <a:lnTo>
                  <a:pt x="45282" y="2265"/>
                </a:lnTo>
                <a:lnTo>
                  <a:pt x="45094" y="2265"/>
                </a:lnTo>
                <a:lnTo>
                  <a:pt x="44716" y="2170"/>
                </a:lnTo>
                <a:lnTo>
                  <a:pt x="43773" y="1793"/>
                </a:lnTo>
                <a:lnTo>
                  <a:pt x="42641" y="1321"/>
                </a:lnTo>
                <a:close/>
                <a:moveTo>
                  <a:pt x="34622" y="5095"/>
                </a:moveTo>
                <a:lnTo>
                  <a:pt x="34169" y="5151"/>
                </a:lnTo>
                <a:lnTo>
                  <a:pt x="34169" y="5151"/>
                </a:lnTo>
                <a:lnTo>
                  <a:pt x="34056" y="5189"/>
                </a:lnTo>
                <a:lnTo>
                  <a:pt x="34622" y="5095"/>
                </a:lnTo>
                <a:close/>
                <a:moveTo>
                  <a:pt x="58490" y="6793"/>
                </a:moveTo>
                <a:lnTo>
                  <a:pt x="59056" y="7453"/>
                </a:lnTo>
                <a:lnTo>
                  <a:pt x="59087" y="7476"/>
                </a:lnTo>
                <a:lnTo>
                  <a:pt x="58490" y="6793"/>
                </a:lnTo>
                <a:close/>
                <a:moveTo>
                  <a:pt x="56697" y="7736"/>
                </a:moveTo>
                <a:lnTo>
                  <a:pt x="57358" y="8113"/>
                </a:lnTo>
                <a:lnTo>
                  <a:pt x="57075" y="8113"/>
                </a:lnTo>
                <a:lnTo>
                  <a:pt x="56697" y="7736"/>
                </a:lnTo>
                <a:close/>
                <a:moveTo>
                  <a:pt x="59810" y="8679"/>
                </a:moveTo>
                <a:lnTo>
                  <a:pt x="60087" y="8956"/>
                </a:lnTo>
                <a:lnTo>
                  <a:pt x="59905" y="8774"/>
                </a:lnTo>
                <a:lnTo>
                  <a:pt x="59810" y="8679"/>
                </a:lnTo>
                <a:close/>
                <a:moveTo>
                  <a:pt x="57546" y="8019"/>
                </a:moveTo>
                <a:lnTo>
                  <a:pt x="58395" y="8774"/>
                </a:lnTo>
                <a:lnTo>
                  <a:pt x="59339" y="9434"/>
                </a:lnTo>
                <a:lnTo>
                  <a:pt x="58490" y="8868"/>
                </a:lnTo>
                <a:lnTo>
                  <a:pt x="57735" y="8208"/>
                </a:lnTo>
                <a:lnTo>
                  <a:pt x="57546" y="8019"/>
                </a:lnTo>
                <a:close/>
                <a:moveTo>
                  <a:pt x="60282" y="9246"/>
                </a:moveTo>
                <a:lnTo>
                  <a:pt x="60565" y="9812"/>
                </a:lnTo>
                <a:lnTo>
                  <a:pt x="60282" y="9529"/>
                </a:lnTo>
                <a:lnTo>
                  <a:pt x="60282" y="9340"/>
                </a:lnTo>
                <a:lnTo>
                  <a:pt x="60282" y="9246"/>
                </a:lnTo>
                <a:close/>
                <a:moveTo>
                  <a:pt x="59999" y="8396"/>
                </a:moveTo>
                <a:lnTo>
                  <a:pt x="60659" y="8774"/>
                </a:lnTo>
                <a:lnTo>
                  <a:pt x="61131" y="9340"/>
                </a:lnTo>
                <a:lnTo>
                  <a:pt x="61603" y="9906"/>
                </a:lnTo>
                <a:lnTo>
                  <a:pt x="61886" y="10566"/>
                </a:lnTo>
                <a:lnTo>
                  <a:pt x="60942" y="9434"/>
                </a:lnTo>
                <a:lnTo>
                  <a:pt x="61320" y="10095"/>
                </a:lnTo>
                <a:lnTo>
                  <a:pt x="59999" y="8396"/>
                </a:lnTo>
                <a:close/>
                <a:moveTo>
                  <a:pt x="63773" y="11132"/>
                </a:moveTo>
                <a:lnTo>
                  <a:pt x="64537" y="12278"/>
                </a:lnTo>
                <a:lnTo>
                  <a:pt x="64622" y="12359"/>
                </a:lnTo>
                <a:lnTo>
                  <a:pt x="63773" y="11132"/>
                </a:lnTo>
                <a:close/>
                <a:moveTo>
                  <a:pt x="65093" y="14528"/>
                </a:moveTo>
                <a:lnTo>
                  <a:pt x="65376" y="15189"/>
                </a:lnTo>
                <a:lnTo>
                  <a:pt x="65659" y="15755"/>
                </a:lnTo>
                <a:lnTo>
                  <a:pt x="66037" y="16981"/>
                </a:lnTo>
                <a:lnTo>
                  <a:pt x="65659" y="16321"/>
                </a:lnTo>
                <a:lnTo>
                  <a:pt x="65282" y="15377"/>
                </a:lnTo>
                <a:lnTo>
                  <a:pt x="65093" y="14528"/>
                </a:lnTo>
                <a:close/>
                <a:moveTo>
                  <a:pt x="65093" y="16321"/>
                </a:moveTo>
                <a:lnTo>
                  <a:pt x="65565" y="16698"/>
                </a:lnTo>
                <a:lnTo>
                  <a:pt x="65942" y="17076"/>
                </a:lnTo>
                <a:lnTo>
                  <a:pt x="66320" y="17547"/>
                </a:lnTo>
                <a:lnTo>
                  <a:pt x="66414" y="17830"/>
                </a:lnTo>
                <a:lnTo>
                  <a:pt x="66508" y="18113"/>
                </a:lnTo>
                <a:lnTo>
                  <a:pt x="65848" y="17170"/>
                </a:lnTo>
                <a:lnTo>
                  <a:pt x="65093" y="16321"/>
                </a:lnTo>
                <a:close/>
                <a:moveTo>
                  <a:pt x="72074" y="36226"/>
                </a:moveTo>
                <a:lnTo>
                  <a:pt x="71791" y="37547"/>
                </a:lnTo>
                <a:lnTo>
                  <a:pt x="71603" y="38773"/>
                </a:lnTo>
                <a:lnTo>
                  <a:pt x="71320" y="40000"/>
                </a:lnTo>
                <a:lnTo>
                  <a:pt x="70754" y="41509"/>
                </a:lnTo>
                <a:lnTo>
                  <a:pt x="70942" y="40283"/>
                </a:lnTo>
                <a:lnTo>
                  <a:pt x="71225" y="38962"/>
                </a:lnTo>
                <a:lnTo>
                  <a:pt x="72074" y="36226"/>
                </a:lnTo>
                <a:close/>
                <a:moveTo>
                  <a:pt x="69150" y="44433"/>
                </a:moveTo>
                <a:lnTo>
                  <a:pt x="68867" y="44905"/>
                </a:lnTo>
                <a:lnTo>
                  <a:pt x="68584" y="45377"/>
                </a:lnTo>
                <a:lnTo>
                  <a:pt x="68206" y="45754"/>
                </a:lnTo>
                <a:lnTo>
                  <a:pt x="67923" y="46132"/>
                </a:lnTo>
                <a:lnTo>
                  <a:pt x="68112" y="45754"/>
                </a:lnTo>
                <a:lnTo>
                  <a:pt x="68678" y="45188"/>
                </a:lnTo>
                <a:lnTo>
                  <a:pt x="69150" y="44433"/>
                </a:lnTo>
                <a:close/>
                <a:moveTo>
                  <a:pt x="67357" y="47830"/>
                </a:moveTo>
                <a:lnTo>
                  <a:pt x="66886" y="48584"/>
                </a:lnTo>
                <a:lnTo>
                  <a:pt x="66508" y="48867"/>
                </a:lnTo>
                <a:lnTo>
                  <a:pt x="66414" y="48867"/>
                </a:lnTo>
                <a:lnTo>
                  <a:pt x="66414" y="48773"/>
                </a:lnTo>
                <a:lnTo>
                  <a:pt x="66886" y="48301"/>
                </a:lnTo>
                <a:lnTo>
                  <a:pt x="67357" y="47830"/>
                </a:lnTo>
                <a:close/>
                <a:moveTo>
                  <a:pt x="65093" y="48396"/>
                </a:moveTo>
                <a:lnTo>
                  <a:pt x="65376" y="48490"/>
                </a:lnTo>
                <a:lnTo>
                  <a:pt x="64905" y="49056"/>
                </a:lnTo>
                <a:lnTo>
                  <a:pt x="64622" y="49528"/>
                </a:lnTo>
                <a:lnTo>
                  <a:pt x="64244" y="49811"/>
                </a:lnTo>
                <a:lnTo>
                  <a:pt x="64244" y="49905"/>
                </a:lnTo>
                <a:lnTo>
                  <a:pt x="64056" y="49905"/>
                </a:lnTo>
                <a:lnTo>
                  <a:pt x="64056" y="49811"/>
                </a:lnTo>
                <a:lnTo>
                  <a:pt x="64433" y="49150"/>
                </a:lnTo>
                <a:lnTo>
                  <a:pt x="64622" y="48867"/>
                </a:lnTo>
                <a:lnTo>
                  <a:pt x="64905" y="48584"/>
                </a:lnTo>
                <a:lnTo>
                  <a:pt x="65093" y="48396"/>
                </a:lnTo>
                <a:close/>
                <a:moveTo>
                  <a:pt x="6981" y="52452"/>
                </a:moveTo>
                <a:lnTo>
                  <a:pt x="7170" y="53112"/>
                </a:lnTo>
                <a:lnTo>
                  <a:pt x="7075" y="53018"/>
                </a:lnTo>
                <a:lnTo>
                  <a:pt x="6981" y="52641"/>
                </a:lnTo>
                <a:lnTo>
                  <a:pt x="6981" y="52452"/>
                </a:lnTo>
                <a:close/>
                <a:moveTo>
                  <a:pt x="7736" y="54339"/>
                </a:moveTo>
                <a:lnTo>
                  <a:pt x="7641" y="54433"/>
                </a:lnTo>
                <a:lnTo>
                  <a:pt x="7641" y="54339"/>
                </a:lnTo>
                <a:close/>
                <a:moveTo>
                  <a:pt x="61225" y="55094"/>
                </a:moveTo>
                <a:lnTo>
                  <a:pt x="61037" y="55377"/>
                </a:lnTo>
                <a:lnTo>
                  <a:pt x="60754" y="55471"/>
                </a:lnTo>
                <a:lnTo>
                  <a:pt x="60754" y="55471"/>
                </a:lnTo>
                <a:lnTo>
                  <a:pt x="60942" y="55282"/>
                </a:lnTo>
                <a:lnTo>
                  <a:pt x="61225" y="55094"/>
                </a:lnTo>
                <a:close/>
                <a:moveTo>
                  <a:pt x="6132" y="53867"/>
                </a:moveTo>
                <a:lnTo>
                  <a:pt x="7358" y="55377"/>
                </a:lnTo>
                <a:lnTo>
                  <a:pt x="7641" y="55471"/>
                </a:lnTo>
                <a:lnTo>
                  <a:pt x="7641" y="55471"/>
                </a:lnTo>
                <a:lnTo>
                  <a:pt x="7641" y="55471"/>
                </a:lnTo>
                <a:lnTo>
                  <a:pt x="7830" y="55565"/>
                </a:lnTo>
                <a:lnTo>
                  <a:pt x="8302" y="56414"/>
                </a:lnTo>
                <a:lnTo>
                  <a:pt x="7170" y="55471"/>
                </a:lnTo>
                <a:lnTo>
                  <a:pt x="6509" y="54622"/>
                </a:lnTo>
                <a:lnTo>
                  <a:pt x="6226" y="54245"/>
                </a:lnTo>
                <a:lnTo>
                  <a:pt x="6132" y="53867"/>
                </a:lnTo>
                <a:close/>
                <a:moveTo>
                  <a:pt x="9056" y="56414"/>
                </a:moveTo>
                <a:lnTo>
                  <a:pt x="9245" y="56509"/>
                </a:lnTo>
                <a:lnTo>
                  <a:pt x="9151" y="56509"/>
                </a:lnTo>
                <a:lnTo>
                  <a:pt x="9056" y="56414"/>
                </a:lnTo>
                <a:close/>
                <a:moveTo>
                  <a:pt x="10472" y="56980"/>
                </a:moveTo>
                <a:lnTo>
                  <a:pt x="11321" y="57358"/>
                </a:lnTo>
                <a:lnTo>
                  <a:pt x="11887" y="57735"/>
                </a:lnTo>
                <a:lnTo>
                  <a:pt x="12264" y="58018"/>
                </a:lnTo>
                <a:lnTo>
                  <a:pt x="11604" y="57641"/>
                </a:lnTo>
                <a:lnTo>
                  <a:pt x="11604" y="57641"/>
                </a:lnTo>
                <a:lnTo>
                  <a:pt x="11792" y="58112"/>
                </a:lnTo>
                <a:lnTo>
                  <a:pt x="11604" y="58018"/>
                </a:lnTo>
                <a:lnTo>
                  <a:pt x="11132" y="57452"/>
                </a:lnTo>
                <a:lnTo>
                  <a:pt x="10849" y="57169"/>
                </a:lnTo>
                <a:lnTo>
                  <a:pt x="10472" y="56980"/>
                </a:lnTo>
                <a:close/>
                <a:moveTo>
                  <a:pt x="18019" y="59433"/>
                </a:moveTo>
                <a:lnTo>
                  <a:pt x="18773" y="59810"/>
                </a:lnTo>
                <a:lnTo>
                  <a:pt x="19528" y="60376"/>
                </a:lnTo>
                <a:lnTo>
                  <a:pt x="19056" y="60282"/>
                </a:lnTo>
                <a:lnTo>
                  <a:pt x="18962" y="60188"/>
                </a:lnTo>
                <a:lnTo>
                  <a:pt x="18490" y="59810"/>
                </a:lnTo>
                <a:lnTo>
                  <a:pt x="18019" y="59433"/>
                </a:lnTo>
                <a:close/>
                <a:moveTo>
                  <a:pt x="14528" y="59999"/>
                </a:moveTo>
                <a:lnTo>
                  <a:pt x="14717" y="60093"/>
                </a:lnTo>
                <a:lnTo>
                  <a:pt x="14905" y="60188"/>
                </a:lnTo>
                <a:lnTo>
                  <a:pt x="15188" y="60471"/>
                </a:lnTo>
                <a:lnTo>
                  <a:pt x="15283" y="60565"/>
                </a:lnTo>
                <a:lnTo>
                  <a:pt x="15188" y="60565"/>
                </a:lnTo>
                <a:lnTo>
                  <a:pt x="14528" y="59999"/>
                </a:lnTo>
                <a:close/>
                <a:moveTo>
                  <a:pt x="49339" y="60188"/>
                </a:moveTo>
                <a:lnTo>
                  <a:pt x="48395" y="60565"/>
                </a:lnTo>
                <a:lnTo>
                  <a:pt x="47924" y="60754"/>
                </a:lnTo>
                <a:lnTo>
                  <a:pt x="47452" y="60754"/>
                </a:lnTo>
                <a:lnTo>
                  <a:pt x="47924" y="60471"/>
                </a:lnTo>
                <a:lnTo>
                  <a:pt x="48301" y="60282"/>
                </a:lnTo>
                <a:lnTo>
                  <a:pt x="49056" y="60188"/>
                </a:lnTo>
                <a:close/>
                <a:moveTo>
                  <a:pt x="19245" y="60565"/>
                </a:moveTo>
                <a:lnTo>
                  <a:pt x="19811" y="60659"/>
                </a:lnTo>
                <a:lnTo>
                  <a:pt x="20566" y="61037"/>
                </a:lnTo>
                <a:lnTo>
                  <a:pt x="20566" y="61037"/>
                </a:lnTo>
                <a:lnTo>
                  <a:pt x="19811" y="60848"/>
                </a:lnTo>
                <a:lnTo>
                  <a:pt x="19245" y="60565"/>
                </a:lnTo>
                <a:close/>
                <a:moveTo>
                  <a:pt x="47075" y="61226"/>
                </a:moveTo>
                <a:lnTo>
                  <a:pt x="46792" y="61414"/>
                </a:lnTo>
                <a:lnTo>
                  <a:pt x="46697" y="61509"/>
                </a:lnTo>
                <a:lnTo>
                  <a:pt x="46792" y="61603"/>
                </a:lnTo>
                <a:lnTo>
                  <a:pt x="47263" y="61603"/>
                </a:lnTo>
                <a:lnTo>
                  <a:pt x="47641" y="61509"/>
                </a:lnTo>
                <a:lnTo>
                  <a:pt x="46886" y="61792"/>
                </a:lnTo>
                <a:lnTo>
                  <a:pt x="46131" y="61886"/>
                </a:lnTo>
                <a:lnTo>
                  <a:pt x="46131" y="61980"/>
                </a:lnTo>
                <a:lnTo>
                  <a:pt x="46037" y="61980"/>
                </a:lnTo>
                <a:lnTo>
                  <a:pt x="45660" y="61697"/>
                </a:lnTo>
                <a:lnTo>
                  <a:pt x="46320" y="61320"/>
                </a:lnTo>
                <a:lnTo>
                  <a:pt x="47075" y="61226"/>
                </a:lnTo>
                <a:close/>
                <a:moveTo>
                  <a:pt x="24151" y="63678"/>
                </a:moveTo>
                <a:lnTo>
                  <a:pt x="24905" y="63961"/>
                </a:lnTo>
                <a:lnTo>
                  <a:pt x="25754" y="64244"/>
                </a:lnTo>
                <a:lnTo>
                  <a:pt x="25188" y="64244"/>
                </a:lnTo>
                <a:lnTo>
                  <a:pt x="24151" y="64150"/>
                </a:lnTo>
                <a:lnTo>
                  <a:pt x="23773" y="64056"/>
                </a:lnTo>
                <a:lnTo>
                  <a:pt x="23585" y="63961"/>
                </a:lnTo>
                <a:lnTo>
                  <a:pt x="23585" y="63867"/>
                </a:lnTo>
                <a:lnTo>
                  <a:pt x="23585" y="63773"/>
                </a:lnTo>
                <a:lnTo>
                  <a:pt x="24151" y="63678"/>
                </a:lnTo>
                <a:close/>
                <a:moveTo>
                  <a:pt x="34811" y="64622"/>
                </a:moveTo>
                <a:lnTo>
                  <a:pt x="35094" y="64810"/>
                </a:lnTo>
                <a:lnTo>
                  <a:pt x="35377" y="64905"/>
                </a:lnTo>
                <a:lnTo>
                  <a:pt x="34622" y="64999"/>
                </a:lnTo>
                <a:lnTo>
                  <a:pt x="34056" y="64999"/>
                </a:lnTo>
                <a:lnTo>
                  <a:pt x="34056" y="64905"/>
                </a:lnTo>
                <a:lnTo>
                  <a:pt x="34811" y="64622"/>
                </a:lnTo>
                <a:close/>
                <a:moveTo>
                  <a:pt x="46414" y="63773"/>
                </a:moveTo>
                <a:lnTo>
                  <a:pt x="46131" y="64056"/>
                </a:lnTo>
                <a:lnTo>
                  <a:pt x="44433" y="64716"/>
                </a:lnTo>
                <a:lnTo>
                  <a:pt x="43962" y="64905"/>
                </a:lnTo>
                <a:lnTo>
                  <a:pt x="44150" y="64810"/>
                </a:lnTo>
                <a:lnTo>
                  <a:pt x="42641" y="64999"/>
                </a:lnTo>
                <a:lnTo>
                  <a:pt x="42924" y="64810"/>
                </a:lnTo>
                <a:lnTo>
                  <a:pt x="43207" y="64622"/>
                </a:lnTo>
                <a:lnTo>
                  <a:pt x="42358" y="64905"/>
                </a:lnTo>
                <a:lnTo>
                  <a:pt x="43113" y="64622"/>
                </a:lnTo>
                <a:lnTo>
                  <a:pt x="45377" y="63867"/>
                </a:lnTo>
                <a:lnTo>
                  <a:pt x="44999" y="64150"/>
                </a:lnTo>
                <a:lnTo>
                  <a:pt x="44622" y="64433"/>
                </a:lnTo>
                <a:lnTo>
                  <a:pt x="46414" y="63773"/>
                </a:lnTo>
                <a:close/>
                <a:moveTo>
                  <a:pt x="39905" y="64622"/>
                </a:moveTo>
                <a:lnTo>
                  <a:pt x="39811" y="64716"/>
                </a:lnTo>
                <a:lnTo>
                  <a:pt x="39622" y="64810"/>
                </a:lnTo>
                <a:lnTo>
                  <a:pt x="38962" y="64999"/>
                </a:lnTo>
                <a:lnTo>
                  <a:pt x="38207" y="65093"/>
                </a:lnTo>
                <a:lnTo>
                  <a:pt x="37641" y="65093"/>
                </a:lnTo>
                <a:lnTo>
                  <a:pt x="39056" y="64810"/>
                </a:lnTo>
                <a:lnTo>
                  <a:pt x="39528" y="64716"/>
                </a:lnTo>
                <a:lnTo>
                  <a:pt x="39905" y="64622"/>
                </a:lnTo>
                <a:close/>
                <a:moveTo>
                  <a:pt x="42829" y="64056"/>
                </a:moveTo>
                <a:lnTo>
                  <a:pt x="42452" y="64244"/>
                </a:lnTo>
                <a:lnTo>
                  <a:pt x="42263" y="64433"/>
                </a:lnTo>
                <a:lnTo>
                  <a:pt x="41980" y="64622"/>
                </a:lnTo>
                <a:lnTo>
                  <a:pt x="41886" y="64999"/>
                </a:lnTo>
                <a:lnTo>
                  <a:pt x="42263" y="64999"/>
                </a:lnTo>
                <a:lnTo>
                  <a:pt x="40094" y="65282"/>
                </a:lnTo>
                <a:lnTo>
                  <a:pt x="40848" y="64999"/>
                </a:lnTo>
                <a:lnTo>
                  <a:pt x="41131" y="64810"/>
                </a:lnTo>
                <a:lnTo>
                  <a:pt x="41131" y="64716"/>
                </a:lnTo>
                <a:lnTo>
                  <a:pt x="41037" y="64622"/>
                </a:lnTo>
                <a:lnTo>
                  <a:pt x="40754" y="64622"/>
                </a:lnTo>
                <a:lnTo>
                  <a:pt x="40282" y="64527"/>
                </a:lnTo>
                <a:lnTo>
                  <a:pt x="40188" y="64433"/>
                </a:lnTo>
                <a:lnTo>
                  <a:pt x="41509" y="64339"/>
                </a:lnTo>
                <a:lnTo>
                  <a:pt x="42829" y="64056"/>
                </a:lnTo>
                <a:close/>
                <a:moveTo>
                  <a:pt x="15660" y="60376"/>
                </a:moveTo>
                <a:lnTo>
                  <a:pt x="16887" y="61131"/>
                </a:lnTo>
                <a:lnTo>
                  <a:pt x="17924" y="62075"/>
                </a:lnTo>
                <a:lnTo>
                  <a:pt x="17924" y="61792"/>
                </a:lnTo>
                <a:lnTo>
                  <a:pt x="17830" y="61603"/>
                </a:lnTo>
                <a:lnTo>
                  <a:pt x="19056" y="61980"/>
                </a:lnTo>
                <a:lnTo>
                  <a:pt x="20283" y="62358"/>
                </a:lnTo>
                <a:lnTo>
                  <a:pt x="20849" y="62546"/>
                </a:lnTo>
                <a:lnTo>
                  <a:pt x="21415" y="62735"/>
                </a:lnTo>
                <a:lnTo>
                  <a:pt x="21886" y="63018"/>
                </a:lnTo>
                <a:lnTo>
                  <a:pt x="22358" y="63395"/>
                </a:lnTo>
                <a:lnTo>
                  <a:pt x="21509" y="63301"/>
                </a:lnTo>
                <a:lnTo>
                  <a:pt x="22547" y="63867"/>
                </a:lnTo>
                <a:lnTo>
                  <a:pt x="23868" y="64339"/>
                </a:lnTo>
                <a:lnTo>
                  <a:pt x="25471" y="64905"/>
                </a:lnTo>
                <a:lnTo>
                  <a:pt x="27169" y="65282"/>
                </a:lnTo>
                <a:lnTo>
                  <a:pt x="26603" y="65282"/>
                </a:lnTo>
                <a:lnTo>
                  <a:pt x="27075" y="65942"/>
                </a:lnTo>
                <a:lnTo>
                  <a:pt x="26886" y="65942"/>
                </a:lnTo>
                <a:lnTo>
                  <a:pt x="26603" y="65848"/>
                </a:lnTo>
                <a:lnTo>
                  <a:pt x="25849" y="65659"/>
                </a:lnTo>
                <a:lnTo>
                  <a:pt x="25283" y="65471"/>
                </a:lnTo>
                <a:lnTo>
                  <a:pt x="25188" y="65376"/>
                </a:lnTo>
                <a:lnTo>
                  <a:pt x="25754" y="65376"/>
                </a:lnTo>
                <a:lnTo>
                  <a:pt x="26226" y="65471"/>
                </a:lnTo>
                <a:lnTo>
                  <a:pt x="26320" y="65282"/>
                </a:lnTo>
                <a:lnTo>
                  <a:pt x="26320" y="65188"/>
                </a:lnTo>
                <a:lnTo>
                  <a:pt x="26226" y="65093"/>
                </a:lnTo>
                <a:lnTo>
                  <a:pt x="25660" y="65093"/>
                </a:lnTo>
                <a:lnTo>
                  <a:pt x="25188" y="65188"/>
                </a:lnTo>
                <a:lnTo>
                  <a:pt x="24528" y="65376"/>
                </a:lnTo>
                <a:lnTo>
                  <a:pt x="24528" y="65376"/>
                </a:lnTo>
                <a:lnTo>
                  <a:pt x="25000" y="65093"/>
                </a:lnTo>
                <a:lnTo>
                  <a:pt x="23679" y="64905"/>
                </a:lnTo>
                <a:lnTo>
                  <a:pt x="22547" y="64716"/>
                </a:lnTo>
                <a:lnTo>
                  <a:pt x="21603" y="64339"/>
                </a:lnTo>
                <a:lnTo>
                  <a:pt x="20660" y="63867"/>
                </a:lnTo>
                <a:lnTo>
                  <a:pt x="20943" y="63867"/>
                </a:lnTo>
                <a:lnTo>
                  <a:pt x="20377" y="63773"/>
                </a:lnTo>
                <a:lnTo>
                  <a:pt x="19339" y="63678"/>
                </a:lnTo>
                <a:lnTo>
                  <a:pt x="18868" y="63490"/>
                </a:lnTo>
                <a:lnTo>
                  <a:pt x="18396" y="63301"/>
                </a:lnTo>
                <a:lnTo>
                  <a:pt x="18585" y="63207"/>
                </a:lnTo>
                <a:lnTo>
                  <a:pt x="18868" y="63301"/>
                </a:lnTo>
                <a:lnTo>
                  <a:pt x="18019" y="62735"/>
                </a:lnTo>
                <a:lnTo>
                  <a:pt x="16981" y="62075"/>
                </a:lnTo>
                <a:lnTo>
                  <a:pt x="14811" y="60471"/>
                </a:lnTo>
                <a:lnTo>
                  <a:pt x="16415" y="61414"/>
                </a:lnTo>
                <a:lnTo>
                  <a:pt x="15660" y="60376"/>
                </a:lnTo>
                <a:close/>
                <a:moveTo>
                  <a:pt x="28867" y="65659"/>
                </a:moveTo>
                <a:lnTo>
                  <a:pt x="30660" y="65942"/>
                </a:lnTo>
                <a:lnTo>
                  <a:pt x="32547" y="66131"/>
                </a:lnTo>
                <a:lnTo>
                  <a:pt x="32075" y="66225"/>
                </a:lnTo>
                <a:lnTo>
                  <a:pt x="31320" y="66225"/>
                </a:lnTo>
                <a:lnTo>
                  <a:pt x="30566" y="66131"/>
                </a:lnTo>
                <a:lnTo>
                  <a:pt x="28867" y="65659"/>
                </a:lnTo>
                <a:close/>
                <a:moveTo>
                  <a:pt x="39150" y="0"/>
                </a:moveTo>
                <a:lnTo>
                  <a:pt x="39528" y="283"/>
                </a:lnTo>
                <a:lnTo>
                  <a:pt x="39622" y="378"/>
                </a:lnTo>
                <a:lnTo>
                  <a:pt x="41509" y="1038"/>
                </a:lnTo>
                <a:lnTo>
                  <a:pt x="40943" y="1132"/>
                </a:lnTo>
                <a:lnTo>
                  <a:pt x="40282" y="1227"/>
                </a:lnTo>
                <a:lnTo>
                  <a:pt x="38962" y="1038"/>
                </a:lnTo>
                <a:lnTo>
                  <a:pt x="37547" y="849"/>
                </a:lnTo>
                <a:lnTo>
                  <a:pt x="36320" y="661"/>
                </a:lnTo>
                <a:lnTo>
                  <a:pt x="36415" y="755"/>
                </a:lnTo>
                <a:lnTo>
                  <a:pt x="36415" y="849"/>
                </a:lnTo>
                <a:lnTo>
                  <a:pt x="35943" y="944"/>
                </a:lnTo>
                <a:lnTo>
                  <a:pt x="34150" y="1132"/>
                </a:lnTo>
                <a:lnTo>
                  <a:pt x="31698" y="1132"/>
                </a:lnTo>
                <a:lnTo>
                  <a:pt x="30660" y="1227"/>
                </a:lnTo>
                <a:lnTo>
                  <a:pt x="29716" y="1321"/>
                </a:lnTo>
                <a:lnTo>
                  <a:pt x="30377" y="1416"/>
                </a:lnTo>
                <a:lnTo>
                  <a:pt x="31037" y="1510"/>
                </a:lnTo>
                <a:lnTo>
                  <a:pt x="30094" y="1699"/>
                </a:lnTo>
                <a:lnTo>
                  <a:pt x="28773" y="2076"/>
                </a:lnTo>
                <a:lnTo>
                  <a:pt x="27924" y="2359"/>
                </a:lnTo>
                <a:lnTo>
                  <a:pt x="27924" y="2453"/>
                </a:lnTo>
                <a:lnTo>
                  <a:pt x="28207" y="2453"/>
                </a:lnTo>
                <a:lnTo>
                  <a:pt x="26509" y="3019"/>
                </a:lnTo>
                <a:lnTo>
                  <a:pt x="26792" y="2831"/>
                </a:lnTo>
                <a:lnTo>
                  <a:pt x="26792" y="2831"/>
                </a:lnTo>
                <a:lnTo>
                  <a:pt x="25660" y="2925"/>
                </a:lnTo>
                <a:lnTo>
                  <a:pt x="25754" y="2831"/>
                </a:lnTo>
                <a:lnTo>
                  <a:pt x="25377" y="2925"/>
                </a:lnTo>
                <a:lnTo>
                  <a:pt x="24905" y="3208"/>
                </a:lnTo>
                <a:lnTo>
                  <a:pt x="24056" y="3774"/>
                </a:lnTo>
                <a:lnTo>
                  <a:pt x="22264" y="4340"/>
                </a:lnTo>
                <a:lnTo>
                  <a:pt x="20471" y="5095"/>
                </a:lnTo>
                <a:lnTo>
                  <a:pt x="18679" y="5755"/>
                </a:lnTo>
                <a:lnTo>
                  <a:pt x="16981" y="6604"/>
                </a:lnTo>
                <a:lnTo>
                  <a:pt x="17453" y="6604"/>
                </a:lnTo>
                <a:lnTo>
                  <a:pt x="17830" y="6415"/>
                </a:lnTo>
                <a:lnTo>
                  <a:pt x="18868" y="6038"/>
                </a:lnTo>
                <a:lnTo>
                  <a:pt x="19905" y="5661"/>
                </a:lnTo>
                <a:lnTo>
                  <a:pt x="20377" y="5472"/>
                </a:lnTo>
                <a:lnTo>
                  <a:pt x="20943" y="5378"/>
                </a:lnTo>
                <a:lnTo>
                  <a:pt x="20943" y="5378"/>
                </a:lnTo>
                <a:lnTo>
                  <a:pt x="19528" y="6038"/>
                </a:lnTo>
                <a:lnTo>
                  <a:pt x="19528" y="6038"/>
                </a:lnTo>
                <a:lnTo>
                  <a:pt x="20094" y="5944"/>
                </a:lnTo>
                <a:lnTo>
                  <a:pt x="18396" y="7076"/>
                </a:lnTo>
                <a:lnTo>
                  <a:pt x="20849" y="6038"/>
                </a:lnTo>
                <a:lnTo>
                  <a:pt x="23396" y="5095"/>
                </a:lnTo>
                <a:lnTo>
                  <a:pt x="26037" y="4246"/>
                </a:lnTo>
                <a:lnTo>
                  <a:pt x="28679" y="3397"/>
                </a:lnTo>
                <a:lnTo>
                  <a:pt x="28301" y="3491"/>
                </a:lnTo>
                <a:lnTo>
                  <a:pt x="28773" y="3208"/>
                </a:lnTo>
                <a:lnTo>
                  <a:pt x="30283" y="2736"/>
                </a:lnTo>
                <a:lnTo>
                  <a:pt x="29905" y="2831"/>
                </a:lnTo>
                <a:lnTo>
                  <a:pt x="29056" y="2831"/>
                </a:lnTo>
                <a:lnTo>
                  <a:pt x="28584" y="2642"/>
                </a:lnTo>
                <a:lnTo>
                  <a:pt x="30566" y="2548"/>
                </a:lnTo>
                <a:lnTo>
                  <a:pt x="32641" y="2548"/>
                </a:lnTo>
                <a:lnTo>
                  <a:pt x="37264" y="2831"/>
                </a:lnTo>
                <a:lnTo>
                  <a:pt x="39528" y="3019"/>
                </a:lnTo>
                <a:lnTo>
                  <a:pt x="43490" y="3019"/>
                </a:lnTo>
                <a:lnTo>
                  <a:pt x="44339" y="2831"/>
                </a:lnTo>
                <a:lnTo>
                  <a:pt x="45094" y="2736"/>
                </a:lnTo>
                <a:lnTo>
                  <a:pt x="45943" y="3114"/>
                </a:lnTo>
                <a:lnTo>
                  <a:pt x="46886" y="3397"/>
                </a:lnTo>
                <a:lnTo>
                  <a:pt x="48678" y="3963"/>
                </a:lnTo>
                <a:lnTo>
                  <a:pt x="50565" y="4434"/>
                </a:lnTo>
                <a:lnTo>
                  <a:pt x="51509" y="4717"/>
                </a:lnTo>
                <a:lnTo>
                  <a:pt x="52358" y="5189"/>
                </a:lnTo>
                <a:lnTo>
                  <a:pt x="51792" y="4812"/>
                </a:lnTo>
                <a:lnTo>
                  <a:pt x="53584" y="5849"/>
                </a:lnTo>
                <a:lnTo>
                  <a:pt x="55376" y="6981"/>
                </a:lnTo>
                <a:lnTo>
                  <a:pt x="56320" y="7642"/>
                </a:lnTo>
                <a:lnTo>
                  <a:pt x="57169" y="8302"/>
                </a:lnTo>
                <a:lnTo>
                  <a:pt x="57924" y="9057"/>
                </a:lnTo>
                <a:lnTo>
                  <a:pt x="58678" y="9906"/>
                </a:lnTo>
                <a:lnTo>
                  <a:pt x="62357" y="14057"/>
                </a:lnTo>
                <a:lnTo>
                  <a:pt x="64622" y="16887"/>
                </a:lnTo>
                <a:lnTo>
                  <a:pt x="66697" y="19623"/>
                </a:lnTo>
                <a:lnTo>
                  <a:pt x="66603" y="19151"/>
                </a:lnTo>
                <a:lnTo>
                  <a:pt x="66603" y="18774"/>
                </a:lnTo>
                <a:lnTo>
                  <a:pt x="67357" y="20472"/>
                </a:lnTo>
                <a:lnTo>
                  <a:pt x="68772" y="23962"/>
                </a:lnTo>
                <a:lnTo>
                  <a:pt x="68867" y="24151"/>
                </a:lnTo>
                <a:lnTo>
                  <a:pt x="69810" y="26792"/>
                </a:lnTo>
                <a:lnTo>
                  <a:pt x="70565" y="29245"/>
                </a:lnTo>
                <a:lnTo>
                  <a:pt x="70754" y="30283"/>
                </a:lnTo>
                <a:lnTo>
                  <a:pt x="70848" y="31037"/>
                </a:lnTo>
                <a:lnTo>
                  <a:pt x="70848" y="31604"/>
                </a:lnTo>
                <a:lnTo>
                  <a:pt x="70754" y="31792"/>
                </a:lnTo>
                <a:lnTo>
                  <a:pt x="70565" y="31887"/>
                </a:lnTo>
                <a:lnTo>
                  <a:pt x="69433" y="36698"/>
                </a:lnTo>
                <a:lnTo>
                  <a:pt x="68206" y="41698"/>
                </a:lnTo>
                <a:lnTo>
                  <a:pt x="68584" y="41037"/>
                </a:lnTo>
                <a:lnTo>
                  <a:pt x="68961" y="40188"/>
                </a:lnTo>
                <a:lnTo>
                  <a:pt x="69244" y="40471"/>
                </a:lnTo>
                <a:lnTo>
                  <a:pt x="69244" y="40849"/>
                </a:lnTo>
                <a:lnTo>
                  <a:pt x="69244" y="41226"/>
                </a:lnTo>
                <a:lnTo>
                  <a:pt x="69055" y="41698"/>
                </a:lnTo>
                <a:lnTo>
                  <a:pt x="68489" y="42924"/>
                </a:lnTo>
                <a:lnTo>
                  <a:pt x="67735" y="44150"/>
                </a:lnTo>
                <a:lnTo>
                  <a:pt x="66791" y="45377"/>
                </a:lnTo>
                <a:lnTo>
                  <a:pt x="65942" y="46509"/>
                </a:lnTo>
                <a:lnTo>
                  <a:pt x="64716" y="47924"/>
                </a:lnTo>
                <a:lnTo>
                  <a:pt x="65565" y="47641"/>
                </a:lnTo>
                <a:lnTo>
                  <a:pt x="65093" y="48301"/>
                </a:lnTo>
                <a:lnTo>
                  <a:pt x="64433" y="48962"/>
                </a:lnTo>
                <a:lnTo>
                  <a:pt x="63112" y="50188"/>
                </a:lnTo>
                <a:lnTo>
                  <a:pt x="63678" y="48962"/>
                </a:lnTo>
                <a:lnTo>
                  <a:pt x="64244" y="47641"/>
                </a:lnTo>
                <a:lnTo>
                  <a:pt x="65754" y="44811"/>
                </a:lnTo>
                <a:lnTo>
                  <a:pt x="67169" y="42169"/>
                </a:lnTo>
                <a:lnTo>
                  <a:pt x="67735" y="41037"/>
                </a:lnTo>
                <a:lnTo>
                  <a:pt x="68206" y="40094"/>
                </a:lnTo>
                <a:lnTo>
                  <a:pt x="68206" y="39811"/>
                </a:lnTo>
                <a:lnTo>
                  <a:pt x="68301" y="39622"/>
                </a:lnTo>
                <a:lnTo>
                  <a:pt x="68301" y="39717"/>
                </a:lnTo>
                <a:lnTo>
                  <a:pt x="68395" y="39339"/>
                </a:lnTo>
                <a:lnTo>
                  <a:pt x="68772" y="37735"/>
                </a:lnTo>
                <a:lnTo>
                  <a:pt x="69055" y="36037"/>
                </a:lnTo>
                <a:lnTo>
                  <a:pt x="69150" y="32924"/>
                </a:lnTo>
                <a:lnTo>
                  <a:pt x="69150" y="30849"/>
                </a:lnTo>
                <a:lnTo>
                  <a:pt x="69150" y="28679"/>
                </a:lnTo>
                <a:lnTo>
                  <a:pt x="68961" y="28773"/>
                </a:lnTo>
                <a:lnTo>
                  <a:pt x="68961" y="29056"/>
                </a:lnTo>
                <a:lnTo>
                  <a:pt x="68678" y="28302"/>
                </a:lnTo>
                <a:lnTo>
                  <a:pt x="68395" y="27453"/>
                </a:lnTo>
                <a:lnTo>
                  <a:pt x="68018" y="25755"/>
                </a:lnTo>
                <a:lnTo>
                  <a:pt x="67923" y="25283"/>
                </a:lnTo>
                <a:lnTo>
                  <a:pt x="67923" y="25472"/>
                </a:lnTo>
                <a:lnTo>
                  <a:pt x="67546" y="24906"/>
                </a:lnTo>
                <a:lnTo>
                  <a:pt x="67074" y="24245"/>
                </a:lnTo>
                <a:lnTo>
                  <a:pt x="66980" y="24057"/>
                </a:lnTo>
                <a:lnTo>
                  <a:pt x="65471" y="22264"/>
                </a:lnTo>
                <a:lnTo>
                  <a:pt x="64810" y="21415"/>
                </a:lnTo>
                <a:lnTo>
                  <a:pt x="64339" y="20755"/>
                </a:lnTo>
                <a:lnTo>
                  <a:pt x="64622" y="20943"/>
                </a:lnTo>
                <a:lnTo>
                  <a:pt x="64527" y="20755"/>
                </a:lnTo>
                <a:lnTo>
                  <a:pt x="64339" y="20472"/>
                </a:lnTo>
                <a:lnTo>
                  <a:pt x="63301" y="19434"/>
                </a:lnTo>
                <a:lnTo>
                  <a:pt x="62357" y="18585"/>
                </a:lnTo>
                <a:lnTo>
                  <a:pt x="62452" y="18679"/>
                </a:lnTo>
                <a:lnTo>
                  <a:pt x="62357" y="18868"/>
                </a:lnTo>
                <a:lnTo>
                  <a:pt x="61508" y="18019"/>
                </a:lnTo>
                <a:lnTo>
                  <a:pt x="61791" y="18396"/>
                </a:lnTo>
                <a:lnTo>
                  <a:pt x="60848" y="17547"/>
                </a:lnTo>
                <a:lnTo>
                  <a:pt x="60471" y="17076"/>
                </a:lnTo>
                <a:lnTo>
                  <a:pt x="60471" y="16981"/>
                </a:lnTo>
                <a:lnTo>
                  <a:pt x="60565" y="17076"/>
                </a:lnTo>
                <a:lnTo>
                  <a:pt x="61225" y="17547"/>
                </a:lnTo>
                <a:lnTo>
                  <a:pt x="58961" y="15566"/>
                </a:lnTo>
                <a:lnTo>
                  <a:pt x="59527" y="16227"/>
                </a:lnTo>
                <a:lnTo>
                  <a:pt x="58584" y="15566"/>
                </a:lnTo>
                <a:lnTo>
                  <a:pt x="57641" y="14906"/>
                </a:lnTo>
                <a:lnTo>
                  <a:pt x="57546" y="15000"/>
                </a:lnTo>
                <a:lnTo>
                  <a:pt x="57452" y="15094"/>
                </a:lnTo>
                <a:lnTo>
                  <a:pt x="58301" y="15660"/>
                </a:lnTo>
                <a:lnTo>
                  <a:pt x="59056" y="16227"/>
                </a:lnTo>
                <a:lnTo>
                  <a:pt x="60471" y="17547"/>
                </a:lnTo>
                <a:lnTo>
                  <a:pt x="61886" y="18774"/>
                </a:lnTo>
                <a:lnTo>
                  <a:pt x="62640" y="19340"/>
                </a:lnTo>
                <a:lnTo>
                  <a:pt x="63395" y="19906"/>
                </a:lnTo>
                <a:lnTo>
                  <a:pt x="62829" y="19528"/>
                </a:lnTo>
                <a:lnTo>
                  <a:pt x="62074" y="19057"/>
                </a:lnTo>
                <a:lnTo>
                  <a:pt x="62074" y="19245"/>
                </a:lnTo>
                <a:lnTo>
                  <a:pt x="62357" y="19717"/>
                </a:lnTo>
                <a:lnTo>
                  <a:pt x="63584" y="21415"/>
                </a:lnTo>
                <a:lnTo>
                  <a:pt x="65093" y="23207"/>
                </a:lnTo>
                <a:lnTo>
                  <a:pt x="65754" y="23962"/>
                </a:lnTo>
                <a:lnTo>
                  <a:pt x="66225" y="24434"/>
                </a:lnTo>
                <a:lnTo>
                  <a:pt x="66414" y="24528"/>
                </a:lnTo>
                <a:lnTo>
                  <a:pt x="66320" y="24057"/>
                </a:lnTo>
                <a:lnTo>
                  <a:pt x="66697" y="24906"/>
                </a:lnTo>
                <a:lnTo>
                  <a:pt x="67074" y="26038"/>
                </a:lnTo>
                <a:lnTo>
                  <a:pt x="66414" y="24811"/>
                </a:lnTo>
                <a:lnTo>
                  <a:pt x="66791" y="25566"/>
                </a:lnTo>
                <a:lnTo>
                  <a:pt x="67169" y="26321"/>
                </a:lnTo>
                <a:lnTo>
                  <a:pt x="67263" y="26415"/>
                </a:lnTo>
                <a:lnTo>
                  <a:pt x="67923" y="28679"/>
                </a:lnTo>
                <a:lnTo>
                  <a:pt x="68206" y="29339"/>
                </a:lnTo>
                <a:lnTo>
                  <a:pt x="68678" y="30471"/>
                </a:lnTo>
                <a:lnTo>
                  <a:pt x="68772" y="30660"/>
                </a:lnTo>
                <a:lnTo>
                  <a:pt x="68678" y="30660"/>
                </a:lnTo>
                <a:lnTo>
                  <a:pt x="68395" y="30377"/>
                </a:lnTo>
                <a:lnTo>
                  <a:pt x="68206" y="30094"/>
                </a:lnTo>
                <a:lnTo>
                  <a:pt x="68206" y="30566"/>
                </a:lnTo>
                <a:lnTo>
                  <a:pt x="68301" y="31037"/>
                </a:lnTo>
                <a:lnTo>
                  <a:pt x="68395" y="31509"/>
                </a:lnTo>
                <a:lnTo>
                  <a:pt x="68395" y="31887"/>
                </a:lnTo>
                <a:lnTo>
                  <a:pt x="68301" y="31792"/>
                </a:lnTo>
                <a:lnTo>
                  <a:pt x="68301" y="31698"/>
                </a:lnTo>
                <a:lnTo>
                  <a:pt x="68301" y="31415"/>
                </a:lnTo>
                <a:lnTo>
                  <a:pt x="68018" y="30094"/>
                </a:lnTo>
                <a:lnTo>
                  <a:pt x="67735" y="28868"/>
                </a:lnTo>
                <a:lnTo>
                  <a:pt x="68112" y="31698"/>
                </a:lnTo>
                <a:lnTo>
                  <a:pt x="68206" y="33113"/>
                </a:lnTo>
                <a:lnTo>
                  <a:pt x="68206" y="34528"/>
                </a:lnTo>
                <a:lnTo>
                  <a:pt x="68112" y="35943"/>
                </a:lnTo>
                <a:lnTo>
                  <a:pt x="67923" y="37358"/>
                </a:lnTo>
                <a:lnTo>
                  <a:pt x="67546" y="38679"/>
                </a:lnTo>
                <a:lnTo>
                  <a:pt x="67074" y="40000"/>
                </a:lnTo>
                <a:lnTo>
                  <a:pt x="67263" y="39717"/>
                </a:lnTo>
                <a:lnTo>
                  <a:pt x="67357" y="39622"/>
                </a:lnTo>
                <a:lnTo>
                  <a:pt x="67357" y="39717"/>
                </a:lnTo>
                <a:lnTo>
                  <a:pt x="67263" y="40377"/>
                </a:lnTo>
                <a:lnTo>
                  <a:pt x="66980" y="41226"/>
                </a:lnTo>
                <a:lnTo>
                  <a:pt x="66791" y="41509"/>
                </a:lnTo>
                <a:lnTo>
                  <a:pt x="66697" y="41603"/>
                </a:lnTo>
                <a:lnTo>
                  <a:pt x="66414" y="42075"/>
                </a:lnTo>
                <a:lnTo>
                  <a:pt x="65754" y="43962"/>
                </a:lnTo>
                <a:lnTo>
                  <a:pt x="64905" y="46132"/>
                </a:lnTo>
                <a:lnTo>
                  <a:pt x="64150" y="47547"/>
                </a:lnTo>
                <a:lnTo>
                  <a:pt x="63395" y="48867"/>
                </a:lnTo>
                <a:lnTo>
                  <a:pt x="62546" y="50094"/>
                </a:lnTo>
                <a:lnTo>
                  <a:pt x="61697" y="51320"/>
                </a:lnTo>
                <a:lnTo>
                  <a:pt x="60376" y="52452"/>
                </a:lnTo>
                <a:lnTo>
                  <a:pt x="59810" y="53112"/>
                </a:lnTo>
                <a:lnTo>
                  <a:pt x="59244" y="53773"/>
                </a:lnTo>
                <a:lnTo>
                  <a:pt x="59999" y="53301"/>
                </a:lnTo>
                <a:lnTo>
                  <a:pt x="59905" y="53490"/>
                </a:lnTo>
                <a:lnTo>
                  <a:pt x="58018" y="54999"/>
                </a:lnTo>
                <a:lnTo>
                  <a:pt x="57075" y="55660"/>
                </a:lnTo>
                <a:lnTo>
                  <a:pt x="56037" y="56226"/>
                </a:lnTo>
                <a:lnTo>
                  <a:pt x="57924" y="54716"/>
                </a:lnTo>
                <a:lnTo>
                  <a:pt x="58867" y="53867"/>
                </a:lnTo>
                <a:lnTo>
                  <a:pt x="59716" y="53018"/>
                </a:lnTo>
                <a:lnTo>
                  <a:pt x="58961" y="53679"/>
                </a:lnTo>
                <a:lnTo>
                  <a:pt x="58207" y="54245"/>
                </a:lnTo>
                <a:lnTo>
                  <a:pt x="56603" y="55282"/>
                </a:lnTo>
                <a:lnTo>
                  <a:pt x="54905" y="56226"/>
                </a:lnTo>
                <a:lnTo>
                  <a:pt x="53301" y="57263"/>
                </a:lnTo>
                <a:lnTo>
                  <a:pt x="52735" y="57452"/>
                </a:lnTo>
                <a:lnTo>
                  <a:pt x="51509" y="57924"/>
                </a:lnTo>
                <a:lnTo>
                  <a:pt x="47829" y="59527"/>
                </a:lnTo>
                <a:lnTo>
                  <a:pt x="43962" y="61226"/>
                </a:lnTo>
                <a:lnTo>
                  <a:pt x="42358" y="61886"/>
                </a:lnTo>
                <a:lnTo>
                  <a:pt x="41414" y="62169"/>
                </a:lnTo>
                <a:lnTo>
                  <a:pt x="39433" y="62452"/>
                </a:lnTo>
                <a:lnTo>
                  <a:pt x="37169" y="62641"/>
                </a:lnTo>
                <a:lnTo>
                  <a:pt x="33679" y="62829"/>
                </a:lnTo>
                <a:lnTo>
                  <a:pt x="31226" y="62924"/>
                </a:lnTo>
                <a:lnTo>
                  <a:pt x="29528" y="62924"/>
                </a:lnTo>
                <a:lnTo>
                  <a:pt x="28301" y="62735"/>
                </a:lnTo>
                <a:lnTo>
                  <a:pt x="27075" y="62546"/>
                </a:lnTo>
                <a:lnTo>
                  <a:pt x="25754" y="62263"/>
                </a:lnTo>
                <a:lnTo>
                  <a:pt x="24622" y="61886"/>
                </a:lnTo>
                <a:lnTo>
                  <a:pt x="23396" y="61414"/>
                </a:lnTo>
                <a:lnTo>
                  <a:pt x="21320" y="60565"/>
                </a:lnTo>
                <a:lnTo>
                  <a:pt x="21509" y="60754"/>
                </a:lnTo>
                <a:lnTo>
                  <a:pt x="21698" y="60848"/>
                </a:lnTo>
                <a:lnTo>
                  <a:pt x="22169" y="61131"/>
                </a:lnTo>
                <a:lnTo>
                  <a:pt x="21037" y="60659"/>
                </a:lnTo>
                <a:lnTo>
                  <a:pt x="19434" y="59905"/>
                </a:lnTo>
                <a:lnTo>
                  <a:pt x="15754" y="57924"/>
                </a:lnTo>
                <a:lnTo>
                  <a:pt x="12453" y="56037"/>
                </a:lnTo>
                <a:lnTo>
                  <a:pt x="11415" y="55377"/>
                </a:lnTo>
                <a:lnTo>
                  <a:pt x="11226" y="55188"/>
                </a:lnTo>
                <a:lnTo>
                  <a:pt x="11132" y="55094"/>
                </a:lnTo>
                <a:lnTo>
                  <a:pt x="10377" y="54433"/>
                </a:lnTo>
                <a:lnTo>
                  <a:pt x="9717" y="53679"/>
                </a:lnTo>
                <a:lnTo>
                  <a:pt x="9717" y="53962"/>
                </a:lnTo>
                <a:lnTo>
                  <a:pt x="9622" y="54150"/>
                </a:lnTo>
                <a:lnTo>
                  <a:pt x="9528" y="54245"/>
                </a:lnTo>
                <a:lnTo>
                  <a:pt x="9434" y="54245"/>
                </a:lnTo>
                <a:lnTo>
                  <a:pt x="9151" y="54056"/>
                </a:lnTo>
                <a:lnTo>
                  <a:pt x="8868" y="53679"/>
                </a:lnTo>
                <a:lnTo>
                  <a:pt x="8585" y="53301"/>
                </a:lnTo>
                <a:lnTo>
                  <a:pt x="8302" y="52829"/>
                </a:lnTo>
                <a:lnTo>
                  <a:pt x="8302" y="52546"/>
                </a:lnTo>
                <a:lnTo>
                  <a:pt x="8302" y="52452"/>
                </a:lnTo>
                <a:lnTo>
                  <a:pt x="8396" y="52452"/>
                </a:lnTo>
                <a:lnTo>
                  <a:pt x="7924" y="52263"/>
                </a:lnTo>
                <a:lnTo>
                  <a:pt x="7358" y="51886"/>
                </a:lnTo>
                <a:lnTo>
                  <a:pt x="6038" y="50660"/>
                </a:lnTo>
                <a:lnTo>
                  <a:pt x="5849" y="50377"/>
                </a:lnTo>
                <a:lnTo>
                  <a:pt x="5566" y="50094"/>
                </a:lnTo>
                <a:lnTo>
                  <a:pt x="5566" y="50188"/>
                </a:lnTo>
                <a:lnTo>
                  <a:pt x="4811" y="49339"/>
                </a:lnTo>
                <a:lnTo>
                  <a:pt x="4717" y="49150"/>
                </a:lnTo>
                <a:lnTo>
                  <a:pt x="5189" y="49433"/>
                </a:lnTo>
                <a:lnTo>
                  <a:pt x="5377" y="49528"/>
                </a:lnTo>
                <a:lnTo>
                  <a:pt x="5472" y="49716"/>
                </a:lnTo>
                <a:lnTo>
                  <a:pt x="5660" y="50094"/>
                </a:lnTo>
                <a:lnTo>
                  <a:pt x="5377" y="49056"/>
                </a:lnTo>
                <a:lnTo>
                  <a:pt x="5000" y="48113"/>
                </a:lnTo>
                <a:lnTo>
                  <a:pt x="4057" y="45660"/>
                </a:lnTo>
                <a:lnTo>
                  <a:pt x="3585" y="44150"/>
                </a:lnTo>
                <a:lnTo>
                  <a:pt x="3208" y="42358"/>
                </a:lnTo>
                <a:lnTo>
                  <a:pt x="3396" y="42547"/>
                </a:lnTo>
                <a:lnTo>
                  <a:pt x="3491" y="42452"/>
                </a:lnTo>
                <a:lnTo>
                  <a:pt x="3585" y="42547"/>
                </a:lnTo>
                <a:lnTo>
                  <a:pt x="3774" y="42641"/>
                </a:lnTo>
                <a:lnTo>
                  <a:pt x="3679" y="40849"/>
                </a:lnTo>
                <a:lnTo>
                  <a:pt x="3585" y="38962"/>
                </a:lnTo>
                <a:lnTo>
                  <a:pt x="3679" y="37169"/>
                </a:lnTo>
                <a:lnTo>
                  <a:pt x="3774" y="36320"/>
                </a:lnTo>
                <a:lnTo>
                  <a:pt x="4057" y="35566"/>
                </a:lnTo>
                <a:lnTo>
                  <a:pt x="4434" y="33585"/>
                </a:lnTo>
                <a:lnTo>
                  <a:pt x="4434" y="33962"/>
                </a:lnTo>
                <a:lnTo>
                  <a:pt x="4528" y="34245"/>
                </a:lnTo>
                <a:lnTo>
                  <a:pt x="4717" y="32264"/>
                </a:lnTo>
                <a:lnTo>
                  <a:pt x="5189" y="30283"/>
                </a:lnTo>
                <a:lnTo>
                  <a:pt x="5755" y="28302"/>
                </a:lnTo>
                <a:lnTo>
                  <a:pt x="6604" y="26321"/>
                </a:lnTo>
                <a:lnTo>
                  <a:pt x="7453" y="24340"/>
                </a:lnTo>
                <a:lnTo>
                  <a:pt x="8585" y="22547"/>
                </a:lnTo>
                <a:lnTo>
                  <a:pt x="9717" y="20755"/>
                </a:lnTo>
                <a:lnTo>
                  <a:pt x="10943" y="19245"/>
                </a:lnTo>
                <a:lnTo>
                  <a:pt x="10849" y="19057"/>
                </a:lnTo>
                <a:lnTo>
                  <a:pt x="10849" y="18868"/>
                </a:lnTo>
                <a:lnTo>
                  <a:pt x="11132" y="18396"/>
                </a:lnTo>
                <a:lnTo>
                  <a:pt x="11604" y="17830"/>
                </a:lnTo>
                <a:lnTo>
                  <a:pt x="12264" y="17076"/>
                </a:lnTo>
                <a:lnTo>
                  <a:pt x="14151" y="15472"/>
                </a:lnTo>
                <a:lnTo>
                  <a:pt x="16415" y="13585"/>
                </a:lnTo>
                <a:lnTo>
                  <a:pt x="18868" y="11793"/>
                </a:lnTo>
                <a:lnTo>
                  <a:pt x="21226" y="10095"/>
                </a:lnTo>
                <a:lnTo>
                  <a:pt x="23302" y="8868"/>
                </a:lnTo>
                <a:lnTo>
                  <a:pt x="24717" y="8113"/>
                </a:lnTo>
                <a:lnTo>
                  <a:pt x="24245" y="8491"/>
                </a:lnTo>
                <a:lnTo>
                  <a:pt x="23773" y="8774"/>
                </a:lnTo>
                <a:lnTo>
                  <a:pt x="24811" y="8208"/>
                </a:lnTo>
                <a:lnTo>
                  <a:pt x="25566" y="7830"/>
                </a:lnTo>
                <a:lnTo>
                  <a:pt x="27452" y="6981"/>
                </a:lnTo>
                <a:lnTo>
                  <a:pt x="27264" y="6981"/>
                </a:lnTo>
                <a:lnTo>
                  <a:pt x="26981" y="6887"/>
                </a:lnTo>
                <a:lnTo>
                  <a:pt x="27830" y="6604"/>
                </a:lnTo>
                <a:lnTo>
                  <a:pt x="29056" y="6132"/>
                </a:lnTo>
                <a:lnTo>
                  <a:pt x="28679" y="6415"/>
                </a:lnTo>
                <a:lnTo>
                  <a:pt x="29056" y="6510"/>
                </a:lnTo>
                <a:lnTo>
                  <a:pt x="28962" y="6698"/>
                </a:lnTo>
                <a:lnTo>
                  <a:pt x="30283" y="6227"/>
                </a:lnTo>
                <a:lnTo>
                  <a:pt x="31698" y="5755"/>
                </a:lnTo>
                <a:lnTo>
                  <a:pt x="33113" y="5378"/>
                </a:lnTo>
                <a:lnTo>
                  <a:pt x="33867" y="5189"/>
                </a:lnTo>
                <a:lnTo>
                  <a:pt x="34169" y="5151"/>
                </a:lnTo>
                <a:lnTo>
                  <a:pt x="34169" y="5151"/>
                </a:lnTo>
                <a:lnTo>
                  <a:pt x="34905" y="4906"/>
                </a:lnTo>
                <a:lnTo>
                  <a:pt x="35754" y="4812"/>
                </a:lnTo>
                <a:lnTo>
                  <a:pt x="36603" y="4812"/>
                </a:lnTo>
                <a:lnTo>
                  <a:pt x="37547" y="4717"/>
                </a:lnTo>
                <a:lnTo>
                  <a:pt x="37830" y="4717"/>
                </a:lnTo>
                <a:lnTo>
                  <a:pt x="38396" y="4529"/>
                </a:lnTo>
                <a:lnTo>
                  <a:pt x="38867" y="4340"/>
                </a:lnTo>
                <a:lnTo>
                  <a:pt x="38867" y="4623"/>
                </a:lnTo>
                <a:lnTo>
                  <a:pt x="42735" y="4340"/>
                </a:lnTo>
                <a:lnTo>
                  <a:pt x="43207" y="4529"/>
                </a:lnTo>
                <a:lnTo>
                  <a:pt x="43018" y="4529"/>
                </a:lnTo>
                <a:lnTo>
                  <a:pt x="43867" y="4623"/>
                </a:lnTo>
                <a:lnTo>
                  <a:pt x="44811" y="4434"/>
                </a:lnTo>
                <a:lnTo>
                  <a:pt x="45094" y="4717"/>
                </a:lnTo>
                <a:lnTo>
                  <a:pt x="45754" y="4906"/>
                </a:lnTo>
                <a:lnTo>
                  <a:pt x="47546" y="5189"/>
                </a:lnTo>
                <a:lnTo>
                  <a:pt x="49622" y="5566"/>
                </a:lnTo>
                <a:lnTo>
                  <a:pt x="51131" y="5849"/>
                </a:lnTo>
                <a:lnTo>
                  <a:pt x="51131" y="5849"/>
                </a:lnTo>
                <a:lnTo>
                  <a:pt x="49244" y="5095"/>
                </a:lnTo>
                <a:lnTo>
                  <a:pt x="46886" y="4529"/>
                </a:lnTo>
                <a:lnTo>
                  <a:pt x="44433" y="3963"/>
                </a:lnTo>
                <a:lnTo>
                  <a:pt x="41980" y="3491"/>
                </a:lnTo>
                <a:lnTo>
                  <a:pt x="39528" y="3302"/>
                </a:lnTo>
                <a:lnTo>
                  <a:pt x="37358" y="3208"/>
                </a:lnTo>
                <a:lnTo>
                  <a:pt x="36415" y="3208"/>
                </a:lnTo>
                <a:lnTo>
                  <a:pt x="35565" y="3302"/>
                </a:lnTo>
                <a:lnTo>
                  <a:pt x="34811" y="3491"/>
                </a:lnTo>
                <a:lnTo>
                  <a:pt x="34150" y="3680"/>
                </a:lnTo>
                <a:lnTo>
                  <a:pt x="33490" y="3585"/>
                </a:lnTo>
                <a:lnTo>
                  <a:pt x="32830" y="3491"/>
                </a:lnTo>
                <a:lnTo>
                  <a:pt x="31509" y="3585"/>
                </a:lnTo>
                <a:lnTo>
                  <a:pt x="30000" y="3868"/>
                </a:lnTo>
                <a:lnTo>
                  <a:pt x="28490" y="4246"/>
                </a:lnTo>
                <a:lnTo>
                  <a:pt x="26981" y="4812"/>
                </a:lnTo>
                <a:lnTo>
                  <a:pt x="25471" y="5472"/>
                </a:lnTo>
                <a:lnTo>
                  <a:pt x="23868" y="6321"/>
                </a:lnTo>
                <a:lnTo>
                  <a:pt x="22358" y="7170"/>
                </a:lnTo>
                <a:lnTo>
                  <a:pt x="20849" y="8113"/>
                </a:lnTo>
                <a:lnTo>
                  <a:pt x="19339" y="9151"/>
                </a:lnTo>
                <a:lnTo>
                  <a:pt x="17924" y="10283"/>
                </a:lnTo>
                <a:lnTo>
                  <a:pt x="16604" y="11321"/>
                </a:lnTo>
                <a:lnTo>
                  <a:pt x="14056" y="13491"/>
                </a:lnTo>
                <a:lnTo>
                  <a:pt x="12075" y="15472"/>
                </a:lnTo>
                <a:lnTo>
                  <a:pt x="9717" y="18491"/>
                </a:lnTo>
                <a:lnTo>
                  <a:pt x="10000" y="17830"/>
                </a:lnTo>
                <a:lnTo>
                  <a:pt x="10377" y="17264"/>
                </a:lnTo>
                <a:lnTo>
                  <a:pt x="9717" y="18113"/>
                </a:lnTo>
                <a:lnTo>
                  <a:pt x="9056" y="19057"/>
                </a:lnTo>
                <a:lnTo>
                  <a:pt x="9151" y="19245"/>
                </a:lnTo>
                <a:lnTo>
                  <a:pt x="8396" y="20189"/>
                </a:lnTo>
                <a:lnTo>
                  <a:pt x="9151" y="18774"/>
                </a:lnTo>
                <a:lnTo>
                  <a:pt x="8019" y="20377"/>
                </a:lnTo>
                <a:lnTo>
                  <a:pt x="7075" y="22075"/>
                </a:lnTo>
                <a:lnTo>
                  <a:pt x="6226" y="23868"/>
                </a:lnTo>
                <a:lnTo>
                  <a:pt x="5472" y="25755"/>
                </a:lnTo>
                <a:lnTo>
                  <a:pt x="4151" y="29434"/>
                </a:lnTo>
                <a:lnTo>
                  <a:pt x="2924" y="32924"/>
                </a:lnTo>
                <a:lnTo>
                  <a:pt x="3019" y="33113"/>
                </a:lnTo>
                <a:lnTo>
                  <a:pt x="2924" y="33773"/>
                </a:lnTo>
                <a:lnTo>
                  <a:pt x="2453" y="36509"/>
                </a:lnTo>
                <a:lnTo>
                  <a:pt x="1981" y="39434"/>
                </a:lnTo>
                <a:lnTo>
                  <a:pt x="1981" y="39528"/>
                </a:lnTo>
                <a:lnTo>
                  <a:pt x="1981" y="39905"/>
                </a:lnTo>
                <a:lnTo>
                  <a:pt x="1792" y="41415"/>
                </a:lnTo>
                <a:lnTo>
                  <a:pt x="1698" y="42358"/>
                </a:lnTo>
                <a:lnTo>
                  <a:pt x="1698" y="43301"/>
                </a:lnTo>
                <a:lnTo>
                  <a:pt x="1792" y="44245"/>
                </a:lnTo>
                <a:lnTo>
                  <a:pt x="1887" y="44999"/>
                </a:lnTo>
                <a:lnTo>
                  <a:pt x="2170" y="46603"/>
                </a:lnTo>
                <a:lnTo>
                  <a:pt x="2170" y="46603"/>
                </a:lnTo>
                <a:lnTo>
                  <a:pt x="1887" y="46415"/>
                </a:lnTo>
                <a:lnTo>
                  <a:pt x="1792" y="46320"/>
                </a:lnTo>
                <a:lnTo>
                  <a:pt x="1792" y="46509"/>
                </a:lnTo>
                <a:lnTo>
                  <a:pt x="1981" y="46981"/>
                </a:lnTo>
                <a:lnTo>
                  <a:pt x="1415" y="46132"/>
                </a:lnTo>
                <a:lnTo>
                  <a:pt x="1509" y="46509"/>
                </a:lnTo>
                <a:lnTo>
                  <a:pt x="1321" y="46981"/>
                </a:lnTo>
                <a:lnTo>
                  <a:pt x="472" y="45471"/>
                </a:lnTo>
                <a:lnTo>
                  <a:pt x="377" y="45565"/>
                </a:lnTo>
                <a:lnTo>
                  <a:pt x="283" y="45660"/>
                </a:lnTo>
                <a:lnTo>
                  <a:pt x="189" y="45660"/>
                </a:lnTo>
                <a:lnTo>
                  <a:pt x="0" y="45565"/>
                </a:lnTo>
                <a:lnTo>
                  <a:pt x="0" y="45565"/>
                </a:lnTo>
                <a:lnTo>
                  <a:pt x="1038" y="47924"/>
                </a:lnTo>
                <a:lnTo>
                  <a:pt x="2264" y="50282"/>
                </a:lnTo>
                <a:lnTo>
                  <a:pt x="2075" y="49905"/>
                </a:lnTo>
                <a:lnTo>
                  <a:pt x="2170" y="49528"/>
                </a:lnTo>
                <a:lnTo>
                  <a:pt x="2736" y="50188"/>
                </a:lnTo>
                <a:lnTo>
                  <a:pt x="3208" y="50660"/>
                </a:lnTo>
                <a:lnTo>
                  <a:pt x="3396" y="50943"/>
                </a:lnTo>
                <a:lnTo>
                  <a:pt x="3396" y="51037"/>
                </a:lnTo>
                <a:lnTo>
                  <a:pt x="3302" y="50943"/>
                </a:lnTo>
                <a:lnTo>
                  <a:pt x="3302" y="50943"/>
                </a:lnTo>
                <a:lnTo>
                  <a:pt x="3585" y="51320"/>
                </a:lnTo>
                <a:lnTo>
                  <a:pt x="4623" y="53207"/>
                </a:lnTo>
                <a:lnTo>
                  <a:pt x="5755" y="55094"/>
                </a:lnTo>
                <a:lnTo>
                  <a:pt x="7075" y="56886"/>
                </a:lnTo>
                <a:lnTo>
                  <a:pt x="8585" y="58490"/>
                </a:lnTo>
                <a:lnTo>
                  <a:pt x="10189" y="59999"/>
                </a:lnTo>
                <a:lnTo>
                  <a:pt x="11792" y="61414"/>
                </a:lnTo>
                <a:lnTo>
                  <a:pt x="13585" y="62735"/>
                </a:lnTo>
                <a:lnTo>
                  <a:pt x="15471" y="63867"/>
                </a:lnTo>
                <a:lnTo>
                  <a:pt x="17641" y="64905"/>
                </a:lnTo>
                <a:lnTo>
                  <a:pt x="20000" y="65942"/>
                </a:lnTo>
                <a:lnTo>
                  <a:pt x="22358" y="66697"/>
                </a:lnTo>
                <a:lnTo>
                  <a:pt x="24811" y="67263"/>
                </a:lnTo>
                <a:lnTo>
                  <a:pt x="27264" y="67735"/>
                </a:lnTo>
                <a:lnTo>
                  <a:pt x="29811" y="68018"/>
                </a:lnTo>
                <a:lnTo>
                  <a:pt x="32264" y="68206"/>
                </a:lnTo>
                <a:lnTo>
                  <a:pt x="34811" y="68112"/>
                </a:lnTo>
                <a:lnTo>
                  <a:pt x="36981" y="67829"/>
                </a:lnTo>
                <a:lnTo>
                  <a:pt x="40471" y="67263"/>
                </a:lnTo>
                <a:lnTo>
                  <a:pt x="44056" y="66508"/>
                </a:lnTo>
                <a:lnTo>
                  <a:pt x="45565" y="66131"/>
                </a:lnTo>
                <a:lnTo>
                  <a:pt x="46509" y="65848"/>
                </a:lnTo>
                <a:lnTo>
                  <a:pt x="46509" y="65942"/>
                </a:lnTo>
                <a:lnTo>
                  <a:pt x="48018" y="65376"/>
                </a:lnTo>
                <a:lnTo>
                  <a:pt x="49527" y="64622"/>
                </a:lnTo>
                <a:lnTo>
                  <a:pt x="48867" y="64810"/>
                </a:lnTo>
                <a:lnTo>
                  <a:pt x="50754" y="63773"/>
                </a:lnTo>
                <a:lnTo>
                  <a:pt x="52546" y="62641"/>
                </a:lnTo>
                <a:lnTo>
                  <a:pt x="54244" y="61320"/>
                </a:lnTo>
                <a:lnTo>
                  <a:pt x="56037" y="59810"/>
                </a:lnTo>
                <a:lnTo>
                  <a:pt x="55282" y="60659"/>
                </a:lnTo>
                <a:lnTo>
                  <a:pt x="57263" y="59056"/>
                </a:lnTo>
                <a:lnTo>
                  <a:pt x="58112" y="58395"/>
                </a:lnTo>
                <a:lnTo>
                  <a:pt x="58207" y="58301"/>
                </a:lnTo>
                <a:lnTo>
                  <a:pt x="58112" y="58301"/>
                </a:lnTo>
                <a:lnTo>
                  <a:pt x="58584" y="57924"/>
                </a:lnTo>
                <a:lnTo>
                  <a:pt x="59056" y="57546"/>
                </a:lnTo>
                <a:lnTo>
                  <a:pt x="59999" y="56414"/>
                </a:lnTo>
                <a:lnTo>
                  <a:pt x="61414" y="55188"/>
                </a:lnTo>
                <a:lnTo>
                  <a:pt x="61414" y="55188"/>
                </a:lnTo>
                <a:lnTo>
                  <a:pt x="61131" y="55282"/>
                </a:lnTo>
                <a:lnTo>
                  <a:pt x="61508" y="54811"/>
                </a:lnTo>
                <a:lnTo>
                  <a:pt x="62735" y="53867"/>
                </a:lnTo>
                <a:lnTo>
                  <a:pt x="63867" y="52735"/>
                </a:lnTo>
                <a:lnTo>
                  <a:pt x="66131" y="50471"/>
                </a:lnTo>
                <a:lnTo>
                  <a:pt x="66131" y="50565"/>
                </a:lnTo>
                <a:lnTo>
                  <a:pt x="66320" y="50660"/>
                </a:lnTo>
                <a:lnTo>
                  <a:pt x="66414" y="50660"/>
                </a:lnTo>
                <a:lnTo>
                  <a:pt x="66603" y="50565"/>
                </a:lnTo>
                <a:lnTo>
                  <a:pt x="66603" y="50754"/>
                </a:lnTo>
                <a:lnTo>
                  <a:pt x="66508" y="50943"/>
                </a:lnTo>
                <a:lnTo>
                  <a:pt x="65848" y="51603"/>
                </a:lnTo>
                <a:lnTo>
                  <a:pt x="64999" y="52546"/>
                </a:lnTo>
                <a:lnTo>
                  <a:pt x="65376" y="52358"/>
                </a:lnTo>
                <a:lnTo>
                  <a:pt x="65848" y="52075"/>
                </a:lnTo>
                <a:lnTo>
                  <a:pt x="66697" y="51320"/>
                </a:lnTo>
                <a:lnTo>
                  <a:pt x="67546" y="50282"/>
                </a:lnTo>
                <a:lnTo>
                  <a:pt x="68301" y="49056"/>
                </a:lnTo>
                <a:lnTo>
                  <a:pt x="69055" y="47830"/>
                </a:lnTo>
                <a:lnTo>
                  <a:pt x="69716" y="46603"/>
                </a:lnTo>
                <a:lnTo>
                  <a:pt x="70565" y="44811"/>
                </a:lnTo>
                <a:lnTo>
                  <a:pt x="70282" y="45094"/>
                </a:lnTo>
                <a:lnTo>
                  <a:pt x="70942" y="43490"/>
                </a:lnTo>
                <a:lnTo>
                  <a:pt x="71037" y="43396"/>
                </a:lnTo>
                <a:lnTo>
                  <a:pt x="71697" y="41320"/>
                </a:lnTo>
                <a:lnTo>
                  <a:pt x="72263" y="39245"/>
                </a:lnTo>
                <a:lnTo>
                  <a:pt x="72640" y="37358"/>
                </a:lnTo>
                <a:lnTo>
                  <a:pt x="72923" y="35849"/>
                </a:lnTo>
                <a:lnTo>
                  <a:pt x="72829" y="36226"/>
                </a:lnTo>
                <a:lnTo>
                  <a:pt x="72735" y="36698"/>
                </a:lnTo>
                <a:lnTo>
                  <a:pt x="72452" y="36981"/>
                </a:lnTo>
                <a:lnTo>
                  <a:pt x="72169" y="37358"/>
                </a:lnTo>
                <a:lnTo>
                  <a:pt x="72263" y="36981"/>
                </a:lnTo>
                <a:lnTo>
                  <a:pt x="72452" y="36415"/>
                </a:lnTo>
                <a:lnTo>
                  <a:pt x="72452" y="35849"/>
                </a:lnTo>
                <a:lnTo>
                  <a:pt x="72357" y="35660"/>
                </a:lnTo>
                <a:lnTo>
                  <a:pt x="72263" y="35471"/>
                </a:lnTo>
                <a:lnTo>
                  <a:pt x="72640" y="33868"/>
                </a:lnTo>
                <a:lnTo>
                  <a:pt x="72735" y="33113"/>
                </a:lnTo>
                <a:lnTo>
                  <a:pt x="72735" y="32358"/>
                </a:lnTo>
                <a:lnTo>
                  <a:pt x="72923" y="33207"/>
                </a:lnTo>
                <a:lnTo>
                  <a:pt x="73018" y="34151"/>
                </a:lnTo>
                <a:lnTo>
                  <a:pt x="72923" y="32358"/>
                </a:lnTo>
                <a:lnTo>
                  <a:pt x="72923" y="31792"/>
                </a:lnTo>
                <a:lnTo>
                  <a:pt x="73112" y="30754"/>
                </a:lnTo>
                <a:lnTo>
                  <a:pt x="72829" y="31604"/>
                </a:lnTo>
                <a:lnTo>
                  <a:pt x="72735" y="30283"/>
                </a:lnTo>
                <a:lnTo>
                  <a:pt x="72546" y="28868"/>
                </a:lnTo>
                <a:lnTo>
                  <a:pt x="72357" y="27641"/>
                </a:lnTo>
                <a:lnTo>
                  <a:pt x="71980" y="26038"/>
                </a:lnTo>
                <a:lnTo>
                  <a:pt x="71414" y="24151"/>
                </a:lnTo>
                <a:lnTo>
                  <a:pt x="70754" y="22170"/>
                </a:lnTo>
                <a:lnTo>
                  <a:pt x="69905" y="20000"/>
                </a:lnTo>
                <a:lnTo>
                  <a:pt x="68867" y="18019"/>
                </a:lnTo>
                <a:lnTo>
                  <a:pt x="68301" y="16981"/>
                </a:lnTo>
                <a:lnTo>
                  <a:pt x="67735" y="16132"/>
                </a:lnTo>
                <a:lnTo>
                  <a:pt x="67074" y="15283"/>
                </a:lnTo>
                <a:lnTo>
                  <a:pt x="66414" y="14434"/>
                </a:lnTo>
                <a:lnTo>
                  <a:pt x="66508" y="14623"/>
                </a:lnTo>
                <a:lnTo>
                  <a:pt x="66414" y="14906"/>
                </a:lnTo>
                <a:lnTo>
                  <a:pt x="65754" y="14057"/>
                </a:lnTo>
                <a:lnTo>
                  <a:pt x="65093" y="13113"/>
                </a:lnTo>
                <a:lnTo>
                  <a:pt x="64537" y="12278"/>
                </a:lnTo>
                <a:lnTo>
                  <a:pt x="62924" y="10755"/>
                </a:lnTo>
                <a:lnTo>
                  <a:pt x="63018" y="10755"/>
                </a:lnTo>
                <a:lnTo>
                  <a:pt x="63018" y="10661"/>
                </a:lnTo>
                <a:lnTo>
                  <a:pt x="62924" y="10472"/>
                </a:lnTo>
                <a:lnTo>
                  <a:pt x="62263" y="9717"/>
                </a:lnTo>
                <a:lnTo>
                  <a:pt x="60376" y="7830"/>
                </a:lnTo>
                <a:lnTo>
                  <a:pt x="60754" y="8396"/>
                </a:lnTo>
                <a:lnTo>
                  <a:pt x="61131" y="8774"/>
                </a:lnTo>
                <a:lnTo>
                  <a:pt x="60376" y="8396"/>
                </a:lnTo>
                <a:lnTo>
                  <a:pt x="59716" y="7925"/>
                </a:lnTo>
                <a:lnTo>
                  <a:pt x="59087" y="7476"/>
                </a:lnTo>
                <a:lnTo>
                  <a:pt x="59810" y="8302"/>
                </a:lnTo>
                <a:lnTo>
                  <a:pt x="58678" y="7642"/>
                </a:lnTo>
                <a:lnTo>
                  <a:pt x="57641" y="6981"/>
                </a:lnTo>
                <a:lnTo>
                  <a:pt x="55471" y="5472"/>
                </a:lnTo>
                <a:lnTo>
                  <a:pt x="53301" y="4057"/>
                </a:lnTo>
                <a:lnTo>
                  <a:pt x="52169" y="3397"/>
                </a:lnTo>
                <a:lnTo>
                  <a:pt x="51037" y="2831"/>
                </a:lnTo>
                <a:lnTo>
                  <a:pt x="52075" y="2831"/>
                </a:lnTo>
                <a:lnTo>
                  <a:pt x="50660" y="1982"/>
                </a:lnTo>
                <a:lnTo>
                  <a:pt x="49811" y="1604"/>
                </a:lnTo>
                <a:lnTo>
                  <a:pt x="48867" y="1227"/>
                </a:lnTo>
                <a:lnTo>
                  <a:pt x="48018" y="849"/>
                </a:lnTo>
                <a:lnTo>
                  <a:pt x="47075" y="661"/>
                </a:lnTo>
                <a:lnTo>
                  <a:pt x="46226" y="566"/>
                </a:lnTo>
                <a:lnTo>
                  <a:pt x="45471" y="661"/>
                </a:lnTo>
                <a:lnTo>
                  <a:pt x="46226" y="849"/>
                </a:lnTo>
                <a:lnTo>
                  <a:pt x="46866" y="1215"/>
                </a:lnTo>
                <a:lnTo>
                  <a:pt x="46980" y="1227"/>
                </a:lnTo>
                <a:lnTo>
                  <a:pt x="47452" y="1416"/>
                </a:lnTo>
                <a:lnTo>
                  <a:pt x="47924" y="1510"/>
                </a:lnTo>
                <a:lnTo>
                  <a:pt x="47358" y="1321"/>
                </a:lnTo>
                <a:lnTo>
                  <a:pt x="46886" y="944"/>
                </a:lnTo>
                <a:lnTo>
                  <a:pt x="47829" y="1227"/>
                </a:lnTo>
                <a:lnTo>
                  <a:pt x="48773" y="1604"/>
                </a:lnTo>
                <a:lnTo>
                  <a:pt x="49622" y="2076"/>
                </a:lnTo>
                <a:lnTo>
                  <a:pt x="50377" y="2642"/>
                </a:lnTo>
                <a:lnTo>
                  <a:pt x="50377" y="2642"/>
                </a:lnTo>
                <a:lnTo>
                  <a:pt x="49622" y="2265"/>
                </a:lnTo>
                <a:lnTo>
                  <a:pt x="48584" y="1887"/>
                </a:lnTo>
                <a:lnTo>
                  <a:pt x="47358" y="1510"/>
                </a:lnTo>
                <a:lnTo>
                  <a:pt x="46037" y="1132"/>
                </a:lnTo>
                <a:lnTo>
                  <a:pt x="46809" y="1210"/>
                </a:lnTo>
                <a:lnTo>
                  <a:pt x="44339" y="661"/>
                </a:lnTo>
                <a:lnTo>
                  <a:pt x="44716" y="755"/>
                </a:lnTo>
                <a:lnTo>
                  <a:pt x="43113" y="472"/>
                </a:lnTo>
                <a:lnTo>
                  <a:pt x="41603" y="283"/>
                </a:lnTo>
                <a:lnTo>
                  <a:pt x="40282" y="95"/>
                </a:lnTo>
                <a:lnTo>
                  <a:pt x="39150" y="0"/>
                </a:lnTo>
                <a:close/>
              </a:path>
            </a:pathLst>
          </a:custGeom>
          <a:solidFill>
            <a:schemeClr val="accent6"/>
          </a:solidFill>
          <a:ln>
            <a:noFill/>
          </a:ln>
        </p:spPr>
        <p:txBody>
          <a:bodyPr spcFirstLastPara="1" wrap="square" lIns="302702" tIns="302702" rIns="302702" bIns="302702" anchor="ctr" anchorCtr="0">
            <a:noAutofit/>
          </a:bodyPr>
          <a:lstStyle/>
          <a:p>
            <a:pPr defTabSz="3027425" fontAlgn="auto">
              <a:spcBef>
                <a:spcPts val="0"/>
              </a:spcBef>
              <a:spcAft>
                <a:spcPts val="0"/>
              </a:spcAft>
              <a:buClr>
                <a:srgbClr val="000000"/>
              </a:buClr>
              <a:buNone/>
            </a:pPr>
            <a:endParaRPr sz="4635" kern="0" spc="0">
              <a:solidFill>
                <a:srgbClr val="000000"/>
              </a:solidFill>
              <a:latin typeface="Arial"/>
              <a:cs typeface="Arial"/>
              <a:sym typeface="Arial"/>
            </a:endParaRPr>
          </a:p>
        </p:txBody>
      </p:sp>
      <p:sp>
        <p:nvSpPr>
          <p:cNvPr id="40" name="TextBox 39">
            <a:extLst>
              <a:ext uri="{FF2B5EF4-FFF2-40B4-BE49-F238E27FC236}">
                <a16:creationId xmlns:a16="http://schemas.microsoft.com/office/drawing/2014/main" id="{5EE86C41-8503-73D4-F123-944D58533171}"/>
              </a:ext>
            </a:extLst>
          </p:cNvPr>
          <p:cNvSpPr txBox="1"/>
          <p:nvPr/>
        </p:nvSpPr>
        <p:spPr>
          <a:xfrm>
            <a:off x="4810408" y="2898020"/>
            <a:ext cx="2571185" cy="615553"/>
          </a:xfrm>
          <a:prstGeom prst="rect">
            <a:avLst/>
          </a:prstGeom>
          <a:noFill/>
        </p:spPr>
        <p:txBody>
          <a:bodyPr wrap="square" lIns="0" tIns="0" rIns="0" bIns="0" rtlCol="0">
            <a:spAutoFit/>
          </a:bodyPr>
          <a:lstStyle/>
          <a:p>
            <a:pPr algn="ctr"/>
            <a:r>
              <a:rPr lang="da-DK" sz="4000" b="1">
                <a:latin typeface="Amatic SC" panose="00000500000000000000" pitchFamily="2" charset="-79"/>
                <a:cs typeface="Amatic SC" panose="00000500000000000000" pitchFamily="2" charset="-79"/>
              </a:rPr>
              <a:t>AKTIV LYTNING</a:t>
            </a:r>
          </a:p>
        </p:txBody>
      </p:sp>
      <p:sp>
        <p:nvSpPr>
          <p:cNvPr id="41" name="Rectangle 40">
            <a:extLst>
              <a:ext uri="{FF2B5EF4-FFF2-40B4-BE49-F238E27FC236}">
                <a16:creationId xmlns:a16="http://schemas.microsoft.com/office/drawing/2014/main" id="{857A8BF5-4D86-427E-4527-9C48D4CC4E8B}"/>
              </a:ext>
            </a:extLst>
          </p:cNvPr>
          <p:cNvSpPr/>
          <p:nvPr/>
        </p:nvSpPr>
        <p:spPr>
          <a:xfrm>
            <a:off x="588438"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2" name="TextBox 41">
            <a:extLst>
              <a:ext uri="{FF2B5EF4-FFF2-40B4-BE49-F238E27FC236}">
                <a16:creationId xmlns:a16="http://schemas.microsoft.com/office/drawing/2014/main" id="{3D928DB6-D9E8-7D3A-0EFC-790EE3426CE6}"/>
              </a:ext>
            </a:extLst>
          </p:cNvPr>
          <p:cNvSpPr txBox="1"/>
          <p:nvPr/>
        </p:nvSpPr>
        <p:spPr bwMode="auto">
          <a:xfrm>
            <a:off x="1125463" y="659967"/>
            <a:ext cx="3305831"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ad undrer mig? </a:t>
            </a:r>
          </a:p>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ilke spørgsmål har jeg?</a:t>
            </a:r>
          </a:p>
        </p:txBody>
      </p:sp>
      <p:sp>
        <p:nvSpPr>
          <p:cNvPr id="43" name="Shape 317">
            <a:extLst>
              <a:ext uri="{FF2B5EF4-FFF2-40B4-BE49-F238E27FC236}">
                <a16:creationId xmlns:a16="http://schemas.microsoft.com/office/drawing/2014/main" id="{D01313E5-63E6-FA19-8098-789D124D6259}"/>
              </a:ext>
            </a:extLst>
          </p:cNvPr>
          <p:cNvSpPr>
            <a:spLocks noChangeAspect="1"/>
          </p:cNvSpPr>
          <p:nvPr/>
        </p:nvSpPr>
        <p:spPr>
          <a:xfrm>
            <a:off x="608462" y="233813"/>
            <a:ext cx="414154" cy="477759"/>
          </a:xfrm>
          <a:custGeom>
            <a:avLst/>
            <a:gdLst/>
            <a:ahLst/>
            <a:cxnLst/>
            <a:rect l="0" t="0" r="0" b="0"/>
            <a:pathLst>
              <a:path w="18956" h="17763" extrusionOk="0">
                <a:moveTo>
                  <a:pt x="17592" y="6229"/>
                </a:moveTo>
                <a:lnTo>
                  <a:pt x="17836" y="6375"/>
                </a:lnTo>
                <a:lnTo>
                  <a:pt x="17957" y="6473"/>
                </a:lnTo>
                <a:lnTo>
                  <a:pt x="18079" y="6570"/>
                </a:lnTo>
                <a:lnTo>
                  <a:pt x="17933" y="6619"/>
                </a:lnTo>
                <a:lnTo>
                  <a:pt x="17811" y="6667"/>
                </a:lnTo>
                <a:lnTo>
                  <a:pt x="17617" y="6789"/>
                </a:lnTo>
                <a:lnTo>
                  <a:pt x="17592" y="6229"/>
                </a:lnTo>
                <a:close/>
                <a:moveTo>
                  <a:pt x="18225" y="6765"/>
                </a:moveTo>
                <a:lnTo>
                  <a:pt x="18298" y="6911"/>
                </a:lnTo>
                <a:lnTo>
                  <a:pt x="18128" y="6935"/>
                </a:lnTo>
                <a:lnTo>
                  <a:pt x="17957" y="7008"/>
                </a:lnTo>
                <a:lnTo>
                  <a:pt x="17787" y="7081"/>
                </a:lnTo>
                <a:lnTo>
                  <a:pt x="17617" y="7203"/>
                </a:lnTo>
                <a:lnTo>
                  <a:pt x="17617" y="6984"/>
                </a:lnTo>
                <a:lnTo>
                  <a:pt x="17909" y="6862"/>
                </a:lnTo>
                <a:lnTo>
                  <a:pt x="18079" y="6813"/>
                </a:lnTo>
                <a:lnTo>
                  <a:pt x="18225" y="6765"/>
                </a:lnTo>
                <a:close/>
                <a:moveTo>
                  <a:pt x="18371" y="7203"/>
                </a:moveTo>
                <a:lnTo>
                  <a:pt x="18395" y="7397"/>
                </a:lnTo>
                <a:lnTo>
                  <a:pt x="18225" y="7470"/>
                </a:lnTo>
                <a:lnTo>
                  <a:pt x="18079" y="7543"/>
                </a:lnTo>
                <a:lnTo>
                  <a:pt x="17860" y="7689"/>
                </a:lnTo>
                <a:lnTo>
                  <a:pt x="17641" y="7835"/>
                </a:lnTo>
                <a:lnTo>
                  <a:pt x="17641" y="7738"/>
                </a:lnTo>
                <a:lnTo>
                  <a:pt x="17617" y="7470"/>
                </a:lnTo>
                <a:lnTo>
                  <a:pt x="17787" y="7397"/>
                </a:lnTo>
                <a:lnTo>
                  <a:pt x="18347" y="7227"/>
                </a:lnTo>
                <a:lnTo>
                  <a:pt x="18371" y="7203"/>
                </a:lnTo>
                <a:close/>
                <a:moveTo>
                  <a:pt x="18420" y="7689"/>
                </a:moveTo>
                <a:lnTo>
                  <a:pt x="18420" y="7835"/>
                </a:lnTo>
                <a:lnTo>
                  <a:pt x="18420" y="7908"/>
                </a:lnTo>
                <a:lnTo>
                  <a:pt x="18225" y="7981"/>
                </a:lnTo>
                <a:lnTo>
                  <a:pt x="18006" y="8103"/>
                </a:lnTo>
                <a:lnTo>
                  <a:pt x="17811" y="8249"/>
                </a:lnTo>
                <a:lnTo>
                  <a:pt x="17641" y="8395"/>
                </a:lnTo>
                <a:lnTo>
                  <a:pt x="17641" y="8006"/>
                </a:lnTo>
                <a:lnTo>
                  <a:pt x="17860" y="7933"/>
                </a:lnTo>
                <a:lnTo>
                  <a:pt x="18079" y="7835"/>
                </a:lnTo>
                <a:lnTo>
                  <a:pt x="18420" y="7689"/>
                </a:lnTo>
                <a:close/>
                <a:moveTo>
                  <a:pt x="18420" y="8200"/>
                </a:moveTo>
                <a:lnTo>
                  <a:pt x="18395" y="8468"/>
                </a:lnTo>
                <a:lnTo>
                  <a:pt x="18322" y="8492"/>
                </a:lnTo>
                <a:lnTo>
                  <a:pt x="18249" y="8517"/>
                </a:lnTo>
                <a:lnTo>
                  <a:pt x="18103" y="8614"/>
                </a:lnTo>
                <a:lnTo>
                  <a:pt x="17884" y="8736"/>
                </a:lnTo>
                <a:lnTo>
                  <a:pt x="17665" y="8833"/>
                </a:lnTo>
                <a:lnTo>
                  <a:pt x="17665" y="8565"/>
                </a:lnTo>
                <a:lnTo>
                  <a:pt x="17860" y="8517"/>
                </a:lnTo>
                <a:lnTo>
                  <a:pt x="18055" y="8419"/>
                </a:lnTo>
                <a:lnTo>
                  <a:pt x="18225" y="8298"/>
                </a:lnTo>
                <a:lnTo>
                  <a:pt x="18420" y="8200"/>
                </a:lnTo>
                <a:close/>
                <a:moveTo>
                  <a:pt x="18298" y="8784"/>
                </a:moveTo>
                <a:lnTo>
                  <a:pt x="18201" y="8979"/>
                </a:lnTo>
                <a:lnTo>
                  <a:pt x="18079" y="9174"/>
                </a:lnTo>
                <a:lnTo>
                  <a:pt x="17884" y="9344"/>
                </a:lnTo>
                <a:lnTo>
                  <a:pt x="17690" y="9514"/>
                </a:lnTo>
                <a:lnTo>
                  <a:pt x="17665" y="8955"/>
                </a:lnTo>
                <a:lnTo>
                  <a:pt x="17860" y="8930"/>
                </a:lnTo>
                <a:lnTo>
                  <a:pt x="18079" y="8857"/>
                </a:lnTo>
                <a:lnTo>
                  <a:pt x="18298" y="8784"/>
                </a:lnTo>
                <a:close/>
                <a:moveTo>
                  <a:pt x="2969" y="5061"/>
                </a:moveTo>
                <a:lnTo>
                  <a:pt x="3674" y="5086"/>
                </a:lnTo>
                <a:lnTo>
                  <a:pt x="4380" y="5086"/>
                </a:lnTo>
                <a:lnTo>
                  <a:pt x="4331" y="5305"/>
                </a:lnTo>
                <a:lnTo>
                  <a:pt x="4307" y="5572"/>
                </a:lnTo>
                <a:lnTo>
                  <a:pt x="4283" y="6083"/>
                </a:lnTo>
                <a:lnTo>
                  <a:pt x="4258" y="7543"/>
                </a:lnTo>
                <a:lnTo>
                  <a:pt x="4258" y="9003"/>
                </a:lnTo>
                <a:lnTo>
                  <a:pt x="4283" y="10488"/>
                </a:lnTo>
                <a:lnTo>
                  <a:pt x="3869" y="10536"/>
                </a:lnTo>
                <a:lnTo>
                  <a:pt x="3869" y="10512"/>
                </a:lnTo>
                <a:lnTo>
                  <a:pt x="3991" y="10317"/>
                </a:lnTo>
                <a:lnTo>
                  <a:pt x="4088" y="10123"/>
                </a:lnTo>
                <a:lnTo>
                  <a:pt x="4161" y="9904"/>
                </a:lnTo>
                <a:lnTo>
                  <a:pt x="4185" y="9782"/>
                </a:lnTo>
                <a:lnTo>
                  <a:pt x="4185" y="9660"/>
                </a:lnTo>
                <a:lnTo>
                  <a:pt x="4161" y="9612"/>
                </a:lnTo>
                <a:lnTo>
                  <a:pt x="4112" y="9587"/>
                </a:lnTo>
                <a:lnTo>
                  <a:pt x="4064" y="9587"/>
                </a:lnTo>
                <a:lnTo>
                  <a:pt x="4015" y="9612"/>
                </a:lnTo>
                <a:lnTo>
                  <a:pt x="3796" y="9977"/>
                </a:lnTo>
                <a:lnTo>
                  <a:pt x="3601" y="10342"/>
                </a:lnTo>
                <a:lnTo>
                  <a:pt x="3431" y="10561"/>
                </a:lnTo>
                <a:lnTo>
                  <a:pt x="3115" y="10585"/>
                </a:lnTo>
                <a:lnTo>
                  <a:pt x="3115" y="10585"/>
                </a:lnTo>
                <a:lnTo>
                  <a:pt x="3188" y="10390"/>
                </a:lnTo>
                <a:lnTo>
                  <a:pt x="3261" y="10220"/>
                </a:lnTo>
                <a:lnTo>
                  <a:pt x="3334" y="10001"/>
                </a:lnTo>
                <a:lnTo>
                  <a:pt x="3431" y="9806"/>
                </a:lnTo>
                <a:lnTo>
                  <a:pt x="3553" y="9612"/>
                </a:lnTo>
                <a:lnTo>
                  <a:pt x="3626" y="9539"/>
                </a:lnTo>
                <a:lnTo>
                  <a:pt x="3723" y="9490"/>
                </a:lnTo>
                <a:lnTo>
                  <a:pt x="3747" y="9466"/>
                </a:lnTo>
                <a:lnTo>
                  <a:pt x="3747" y="9441"/>
                </a:lnTo>
                <a:lnTo>
                  <a:pt x="3723" y="9417"/>
                </a:lnTo>
                <a:lnTo>
                  <a:pt x="3699" y="9417"/>
                </a:lnTo>
                <a:lnTo>
                  <a:pt x="3601" y="9441"/>
                </a:lnTo>
                <a:lnTo>
                  <a:pt x="3504" y="9466"/>
                </a:lnTo>
                <a:lnTo>
                  <a:pt x="3358" y="9587"/>
                </a:lnTo>
                <a:lnTo>
                  <a:pt x="3212" y="9733"/>
                </a:lnTo>
                <a:lnTo>
                  <a:pt x="3115" y="9904"/>
                </a:lnTo>
                <a:lnTo>
                  <a:pt x="2993" y="10098"/>
                </a:lnTo>
                <a:lnTo>
                  <a:pt x="2896" y="10317"/>
                </a:lnTo>
                <a:lnTo>
                  <a:pt x="2847" y="10463"/>
                </a:lnTo>
                <a:lnTo>
                  <a:pt x="2798" y="10585"/>
                </a:lnTo>
                <a:lnTo>
                  <a:pt x="2409" y="10561"/>
                </a:lnTo>
                <a:lnTo>
                  <a:pt x="2506" y="10244"/>
                </a:lnTo>
                <a:lnTo>
                  <a:pt x="2652" y="9928"/>
                </a:lnTo>
                <a:lnTo>
                  <a:pt x="2823" y="9660"/>
                </a:lnTo>
                <a:lnTo>
                  <a:pt x="3017" y="9393"/>
                </a:lnTo>
                <a:lnTo>
                  <a:pt x="3017" y="9368"/>
                </a:lnTo>
                <a:lnTo>
                  <a:pt x="2993" y="9368"/>
                </a:lnTo>
                <a:lnTo>
                  <a:pt x="2847" y="9441"/>
                </a:lnTo>
                <a:lnTo>
                  <a:pt x="2701" y="9563"/>
                </a:lnTo>
                <a:lnTo>
                  <a:pt x="2579" y="9685"/>
                </a:lnTo>
                <a:lnTo>
                  <a:pt x="2458" y="9831"/>
                </a:lnTo>
                <a:lnTo>
                  <a:pt x="2360" y="10001"/>
                </a:lnTo>
                <a:lnTo>
                  <a:pt x="2287" y="10171"/>
                </a:lnTo>
                <a:lnTo>
                  <a:pt x="2166" y="10512"/>
                </a:lnTo>
                <a:lnTo>
                  <a:pt x="2068" y="10512"/>
                </a:lnTo>
                <a:lnTo>
                  <a:pt x="1776" y="10439"/>
                </a:lnTo>
                <a:lnTo>
                  <a:pt x="1849" y="10366"/>
                </a:lnTo>
                <a:lnTo>
                  <a:pt x="1898" y="10269"/>
                </a:lnTo>
                <a:lnTo>
                  <a:pt x="1995" y="10025"/>
                </a:lnTo>
                <a:lnTo>
                  <a:pt x="2117" y="9806"/>
                </a:lnTo>
                <a:lnTo>
                  <a:pt x="2287" y="9490"/>
                </a:lnTo>
                <a:lnTo>
                  <a:pt x="2385" y="9320"/>
                </a:lnTo>
                <a:lnTo>
                  <a:pt x="2409" y="9149"/>
                </a:lnTo>
                <a:lnTo>
                  <a:pt x="2409" y="9125"/>
                </a:lnTo>
                <a:lnTo>
                  <a:pt x="2360" y="9125"/>
                </a:lnTo>
                <a:lnTo>
                  <a:pt x="2287" y="9174"/>
                </a:lnTo>
                <a:lnTo>
                  <a:pt x="2190" y="9222"/>
                </a:lnTo>
                <a:lnTo>
                  <a:pt x="2044" y="9393"/>
                </a:lnTo>
                <a:lnTo>
                  <a:pt x="1922" y="9563"/>
                </a:lnTo>
                <a:lnTo>
                  <a:pt x="1825" y="9733"/>
                </a:lnTo>
                <a:lnTo>
                  <a:pt x="1752" y="9879"/>
                </a:lnTo>
                <a:lnTo>
                  <a:pt x="1655" y="10050"/>
                </a:lnTo>
                <a:lnTo>
                  <a:pt x="1630" y="10220"/>
                </a:lnTo>
                <a:lnTo>
                  <a:pt x="1630" y="10317"/>
                </a:lnTo>
                <a:lnTo>
                  <a:pt x="1655" y="10390"/>
                </a:lnTo>
                <a:lnTo>
                  <a:pt x="1436" y="10293"/>
                </a:lnTo>
                <a:lnTo>
                  <a:pt x="1217" y="10171"/>
                </a:lnTo>
                <a:lnTo>
                  <a:pt x="1265" y="10098"/>
                </a:lnTo>
                <a:lnTo>
                  <a:pt x="1387" y="9782"/>
                </a:lnTo>
                <a:lnTo>
                  <a:pt x="1557" y="9490"/>
                </a:lnTo>
                <a:lnTo>
                  <a:pt x="1752" y="9174"/>
                </a:lnTo>
                <a:lnTo>
                  <a:pt x="1874" y="9028"/>
                </a:lnTo>
                <a:lnTo>
                  <a:pt x="1971" y="8906"/>
                </a:lnTo>
                <a:lnTo>
                  <a:pt x="1995" y="8857"/>
                </a:lnTo>
                <a:lnTo>
                  <a:pt x="1995" y="8833"/>
                </a:lnTo>
                <a:lnTo>
                  <a:pt x="1922" y="8833"/>
                </a:lnTo>
                <a:lnTo>
                  <a:pt x="1606" y="9052"/>
                </a:lnTo>
                <a:lnTo>
                  <a:pt x="1460" y="9198"/>
                </a:lnTo>
                <a:lnTo>
                  <a:pt x="1314" y="9344"/>
                </a:lnTo>
                <a:lnTo>
                  <a:pt x="1119" y="9636"/>
                </a:lnTo>
                <a:lnTo>
                  <a:pt x="1022" y="9806"/>
                </a:lnTo>
                <a:lnTo>
                  <a:pt x="973" y="9952"/>
                </a:lnTo>
                <a:lnTo>
                  <a:pt x="852" y="9831"/>
                </a:lnTo>
                <a:lnTo>
                  <a:pt x="754" y="9709"/>
                </a:lnTo>
                <a:lnTo>
                  <a:pt x="779" y="9660"/>
                </a:lnTo>
                <a:lnTo>
                  <a:pt x="852" y="9490"/>
                </a:lnTo>
                <a:lnTo>
                  <a:pt x="925" y="9320"/>
                </a:lnTo>
                <a:lnTo>
                  <a:pt x="1144" y="9003"/>
                </a:lnTo>
                <a:lnTo>
                  <a:pt x="1387" y="8736"/>
                </a:lnTo>
                <a:lnTo>
                  <a:pt x="1484" y="8565"/>
                </a:lnTo>
                <a:lnTo>
                  <a:pt x="1582" y="8419"/>
                </a:lnTo>
                <a:lnTo>
                  <a:pt x="1582" y="8371"/>
                </a:lnTo>
                <a:lnTo>
                  <a:pt x="1533" y="8346"/>
                </a:lnTo>
                <a:lnTo>
                  <a:pt x="1436" y="8371"/>
                </a:lnTo>
                <a:lnTo>
                  <a:pt x="1338" y="8419"/>
                </a:lnTo>
                <a:lnTo>
                  <a:pt x="1217" y="8468"/>
                </a:lnTo>
                <a:lnTo>
                  <a:pt x="1119" y="8565"/>
                </a:lnTo>
                <a:lnTo>
                  <a:pt x="949" y="8736"/>
                </a:lnTo>
                <a:lnTo>
                  <a:pt x="827" y="8906"/>
                </a:lnTo>
                <a:lnTo>
                  <a:pt x="681" y="9052"/>
                </a:lnTo>
                <a:lnTo>
                  <a:pt x="560" y="9247"/>
                </a:lnTo>
                <a:lnTo>
                  <a:pt x="511" y="9003"/>
                </a:lnTo>
                <a:lnTo>
                  <a:pt x="535" y="8930"/>
                </a:lnTo>
                <a:lnTo>
                  <a:pt x="633" y="8760"/>
                </a:lnTo>
                <a:lnTo>
                  <a:pt x="730" y="8565"/>
                </a:lnTo>
                <a:lnTo>
                  <a:pt x="998" y="8200"/>
                </a:lnTo>
                <a:lnTo>
                  <a:pt x="1265" y="7835"/>
                </a:lnTo>
                <a:lnTo>
                  <a:pt x="1265" y="7787"/>
                </a:lnTo>
                <a:lnTo>
                  <a:pt x="1241" y="7787"/>
                </a:lnTo>
                <a:lnTo>
                  <a:pt x="1022" y="7908"/>
                </a:lnTo>
                <a:lnTo>
                  <a:pt x="852" y="8054"/>
                </a:lnTo>
                <a:lnTo>
                  <a:pt x="681" y="8200"/>
                </a:lnTo>
                <a:lnTo>
                  <a:pt x="511" y="8395"/>
                </a:lnTo>
                <a:lnTo>
                  <a:pt x="462" y="8444"/>
                </a:lnTo>
                <a:lnTo>
                  <a:pt x="487" y="8030"/>
                </a:lnTo>
                <a:lnTo>
                  <a:pt x="487" y="7981"/>
                </a:lnTo>
                <a:lnTo>
                  <a:pt x="608" y="7835"/>
                </a:lnTo>
                <a:lnTo>
                  <a:pt x="730" y="7689"/>
                </a:lnTo>
                <a:lnTo>
                  <a:pt x="852" y="7543"/>
                </a:lnTo>
                <a:lnTo>
                  <a:pt x="949" y="7373"/>
                </a:lnTo>
                <a:lnTo>
                  <a:pt x="949" y="7349"/>
                </a:lnTo>
                <a:lnTo>
                  <a:pt x="949" y="7324"/>
                </a:lnTo>
                <a:lnTo>
                  <a:pt x="900" y="7324"/>
                </a:lnTo>
                <a:lnTo>
                  <a:pt x="730" y="7446"/>
                </a:lnTo>
                <a:lnTo>
                  <a:pt x="511" y="7592"/>
                </a:lnTo>
                <a:lnTo>
                  <a:pt x="560" y="7276"/>
                </a:lnTo>
                <a:lnTo>
                  <a:pt x="608" y="6959"/>
                </a:lnTo>
                <a:lnTo>
                  <a:pt x="681" y="6643"/>
                </a:lnTo>
                <a:lnTo>
                  <a:pt x="779" y="6351"/>
                </a:lnTo>
                <a:lnTo>
                  <a:pt x="925" y="6083"/>
                </a:lnTo>
                <a:lnTo>
                  <a:pt x="1119" y="5840"/>
                </a:lnTo>
                <a:lnTo>
                  <a:pt x="1338" y="5597"/>
                </a:lnTo>
                <a:lnTo>
                  <a:pt x="1630" y="5402"/>
                </a:lnTo>
                <a:lnTo>
                  <a:pt x="1776" y="5305"/>
                </a:lnTo>
                <a:lnTo>
                  <a:pt x="1922" y="5232"/>
                </a:lnTo>
                <a:lnTo>
                  <a:pt x="2263" y="5134"/>
                </a:lnTo>
                <a:lnTo>
                  <a:pt x="2604" y="5086"/>
                </a:lnTo>
                <a:lnTo>
                  <a:pt x="2969" y="5061"/>
                </a:lnTo>
                <a:close/>
                <a:moveTo>
                  <a:pt x="15622" y="1631"/>
                </a:moveTo>
                <a:lnTo>
                  <a:pt x="15622" y="2044"/>
                </a:lnTo>
                <a:lnTo>
                  <a:pt x="15597" y="2896"/>
                </a:lnTo>
                <a:lnTo>
                  <a:pt x="15597" y="3310"/>
                </a:lnTo>
                <a:lnTo>
                  <a:pt x="15622" y="3748"/>
                </a:lnTo>
                <a:lnTo>
                  <a:pt x="15622" y="4186"/>
                </a:lnTo>
                <a:lnTo>
                  <a:pt x="15622" y="4648"/>
                </a:lnTo>
                <a:lnTo>
                  <a:pt x="15549" y="5524"/>
                </a:lnTo>
                <a:lnTo>
                  <a:pt x="15524" y="6035"/>
                </a:lnTo>
                <a:lnTo>
                  <a:pt x="15524" y="6521"/>
                </a:lnTo>
                <a:lnTo>
                  <a:pt x="15524" y="7519"/>
                </a:lnTo>
                <a:lnTo>
                  <a:pt x="15524" y="9441"/>
                </a:lnTo>
                <a:lnTo>
                  <a:pt x="15500" y="11364"/>
                </a:lnTo>
                <a:lnTo>
                  <a:pt x="15524" y="12142"/>
                </a:lnTo>
                <a:lnTo>
                  <a:pt x="15403" y="12264"/>
                </a:lnTo>
                <a:lnTo>
                  <a:pt x="15281" y="12386"/>
                </a:lnTo>
                <a:lnTo>
                  <a:pt x="15184" y="12532"/>
                </a:lnTo>
                <a:lnTo>
                  <a:pt x="15111" y="12702"/>
                </a:lnTo>
                <a:lnTo>
                  <a:pt x="14940" y="13018"/>
                </a:lnTo>
                <a:lnTo>
                  <a:pt x="14819" y="13334"/>
                </a:lnTo>
                <a:lnTo>
                  <a:pt x="14624" y="13213"/>
                </a:lnTo>
                <a:lnTo>
                  <a:pt x="14746" y="13018"/>
                </a:lnTo>
                <a:lnTo>
                  <a:pt x="14867" y="12775"/>
                </a:lnTo>
                <a:lnTo>
                  <a:pt x="15013" y="12337"/>
                </a:lnTo>
                <a:lnTo>
                  <a:pt x="15184" y="11948"/>
                </a:lnTo>
                <a:lnTo>
                  <a:pt x="15232" y="11729"/>
                </a:lnTo>
                <a:lnTo>
                  <a:pt x="15281" y="11534"/>
                </a:lnTo>
                <a:lnTo>
                  <a:pt x="15281" y="11485"/>
                </a:lnTo>
                <a:lnTo>
                  <a:pt x="15257" y="11485"/>
                </a:lnTo>
                <a:lnTo>
                  <a:pt x="15184" y="11510"/>
                </a:lnTo>
                <a:lnTo>
                  <a:pt x="15111" y="11558"/>
                </a:lnTo>
                <a:lnTo>
                  <a:pt x="15038" y="11607"/>
                </a:lnTo>
                <a:lnTo>
                  <a:pt x="14989" y="11680"/>
                </a:lnTo>
                <a:lnTo>
                  <a:pt x="14916" y="11850"/>
                </a:lnTo>
                <a:lnTo>
                  <a:pt x="14843" y="11996"/>
                </a:lnTo>
                <a:lnTo>
                  <a:pt x="14527" y="12629"/>
                </a:lnTo>
                <a:lnTo>
                  <a:pt x="14405" y="12824"/>
                </a:lnTo>
                <a:lnTo>
                  <a:pt x="14332" y="13042"/>
                </a:lnTo>
                <a:lnTo>
                  <a:pt x="14016" y="12872"/>
                </a:lnTo>
                <a:lnTo>
                  <a:pt x="14089" y="12799"/>
                </a:lnTo>
                <a:lnTo>
                  <a:pt x="14162" y="12726"/>
                </a:lnTo>
                <a:lnTo>
                  <a:pt x="14259" y="12532"/>
                </a:lnTo>
                <a:lnTo>
                  <a:pt x="14405" y="12118"/>
                </a:lnTo>
                <a:lnTo>
                  <a:pt x="14673" y="11558"/>
                </a:lnTo>
                <a:lnTo>
                  <a:pt x="14965" y="10999"/>
                </a:lnTo>
                <a:lnTo>
                  <a:pt x="14965" y="10974"/>
                </a:lnTo>
                <a:lnTo>
                  <a:pt x="14940" y="10950"/>
                </a:lnTo>
                <a:lnTo>
                  <a:pt x="14794" y="11047"/>
                </a:lnTo>
                <a:lnTo>
                  <a:pt x="14697" y="11145"/>
                </a:lnTo>
                <a:lnTo>
                  <a:pt x="14502" y="11364"/>
                </a:lnTo>
                <a:lnTo>
                  <a:pt x="14332" y="11607"/>
                </a:lnTo>
                <a:lnTo>
                  <a:pt x="14210" y="11875"/>
                </a:lnTo>
                <a:lnTo>
                  <a:pt x="13967" y="12288"/>
                </a:lnTo>
                <a:lnTo>
                  <a:pt x="13870" y="12532"/>
                </a:lnTo>
                <a:lnTo>
                  <a:pt x="13821" y="12653"/>
                </a:lnTo>
                <a:lnTo>
                  <a:pt x="13821" y="12775"/>
                </a:lnTo>
                <a:lnTo>
                  <a:pt x="13626" y="12678"/>
                </a:lnTo>
                <a:lnTo>
                  <a:pt x="13651" y="12605"/>
                </a:lnTo>
                <a:lnTo>
                  <a:pt x="13675" y="12507"/>
                </a:lnTo>
                <a:lnTo>
                  <a:pt x="13724" y="12337"/>
                </a:lnTo>
                <a:lnTo>
                  <a:pt x="13797" y="12167"/>
                </a:lnTo>
                <a:lnTo>
                  <a:pt x="13943" y="11875"/>
                </a:lnTo>
                <a:lnTo>
                  <a:pt x="14064" y="11558"/>
                </a:lnTo>
                <a:lnTo>
                  <a:pt x="14162" y="11218"/>
                </a:lnTo>
                <a:lnTo>
                  <a:pt x="14259" y="10901"/>
                </a:lnTo>
                <a:lnTo>
                  <a:pt x="14405" y="10585"/>
                </a:lnTo>
                <a:lnTo>
                  <a:pt x="14405" y="10561"/>
                </a:lnTo>
                <a:lnTo>
                  <a:pt x="14356" y="10561"/>
                </a:lnTo>
                <a:lnTo>
                  <a:pt x="14259" y="10634"/>
                </a:lnTo>
                <a:lnTo>
                  <a:pt x="14162" y="10731"/>
                </a:lnTo>
                <a:lnTo>
                  <a:pt x="13991" y="10950"/>
                </a:lnTo>
                <a:lnTo>
                  <a:pt x="13870" y="11218"/>
                </a:lnTo>
                <a:lnTo>
                  <a:pt x="13772" y="11461"/>
                </a:lnTo>
                <a:lnTo>
                  <a:pt x="13651" y="11729"/>
                </a:lnTo>
                <a:lnTo>
                  <a:pt x="13505" y="11996"/>
                </a:lnTo>
                <a:lnTo>
                  <a:pt x="13383" y="12264"/>
                </a:lnTo>
                <a:lnTo>
                  <a:pt x="13359" y="12410"/>
                </a:lnTo>
                <a:lnTo>
                  <a:pt x="13334" y="12556"/>
                </a:lnTo>
                <a:lnTo>
                  <a:pt x="12872" y="12337"/>
                </a:lnTo>
                <a:lnTo>
                  <a:pt x="12994" y="12191"/>
                </a:lnTo>
                <a:lnTo>
                  <a:pt x="13115" y="12021"/>
                </a:lnTo>
                <a:lnTo>
                  <a:pt x="13310" y="11607"/>
                </a:lnTo>
                <a:lnTo>
                  <a:pt x="13772" y="10609"/>
                </a:lnTo>
                <a:lnTo>
                  <a:pt x="13772" y="10585"/>
                </a:lnTo>
                <a:lnTo>
                  <a:pt x="13772" y="10561"/>
                </a:lnTo>
                <a:lnTo>
                  <a:pt x="13748" y="10561"/>
                </a:lnTo>
                <a:lnTo>
                  <a:pt x="13724" y="10585"/>
                </a:lnTo>
                <a:lnTo>
                  <a:pt x="13456" y="10999"/>
                </a:lnTo>
                <a:lnTo>
                  <a:pt x="13188" y="11412"/>
                </a:lnTo>
                <a:lnTo>
                  <a:pt x="12945" y="11850"/>
                </a:lnTo>
                <a:lnTo>
                  <a:pt x="12823" y="12069"/>
                </a:lnTo>
                <a:lnTo>
                  <a:pt x="12750" y="12313"/>
                </a:lnTo>
                <a:lnTo>
                  <a:pt x="12361" y="12118"/>
                </a:lnTo>
                <a:lnTo>
                  <a:pt x="12288" y="12094"/>
                </a:lnTo>
                <a:lnTo>
                  <a:pt x="12337" y="11923"/>
                </a:lnTo>
                <a:lnTo>
                  <a:pt x="12458" y="11631"/>
                </a:lnTo>
                <a:lnTo>
                  <a:pt x="12604" y="11339"/>
                </a:lnTo>
                <a:lnTo>
                  <a:pt x="12823" y="10828"/>
                </a:lnTo>
                <a:lnTo>
                  <a:pt x="12945" y="10585"/>
                </a:lnTo>
                <a:lnTo>
                  <a:pt x="13091" y="10342"/>
                </a:lnTo>
                <a:lnTo>
                  <a:pt x="13091" y="10293"/>
                </a:lnTo>
                <a:lnTo>
                  <a:pt x="13067" y="10244"/>
                </a:lnTo>
                <a:lnTo>
                  <a:pt x="12969" y="10244"/>
                </a:lnTo>
                <a:lnTo>
                  <a:pt x="12775" y="10463"/>
                </a:lnTo>
                <a:lnTo>
                  <a:pt x="12604" y="10682"/>
                </a:lnTo>
                <a:lnTo>
                  <a:pt x="12458" y="10926"/>
                </a:lnTo>
                <a:lnTo>
                  <a:pt x="12312" y="11193"/>
                </a:lnTo>
                <a:lnTo>
                  <a:pt x="12118" y="11510"/>
                </a:lnTo>
                <a:lnTo>
                  <a:pt x="12020" y="11729"/>
                </a:lnTo>
                <a:lnTo>
                  <a:pt x="11947" y="11923"/>
                </a:lnTo>
                <a:lnTo>
                  <a:pt x="11655" y="11802"/>
                </a:lnTo>
                <a:lnTo>
                  <a:pt x="11728" y="11631"/>
                </a:lnTo>
                <a:lnTo>
                  <a:pt x="11777" y="11461"/>
                </a:lnTo>
                <a:lnTo>
                  <a:pt x="11874" y="11145"/>
                </a:lnTo>
                <a:lnTo>
                  <a:pt x="12118" y="10658"/>
                </a:lnTo>
                <a:lnTo>
                  <a:pt x="12239" y="10415"/>
                </a:lnTo>
                <a:lnTo>
                  <a:pt x="12385" y="10196"/>
                </a:lnTo>
                <a:lnTo>
                  <a:pt x="12410" y="10171"/>
                </a:lnTo>
                <a:lnTo>
                  <a:pt x="12385" y="10147"/>
                </a:lnTo>
                <a:lnTo>
                  <a:pt x="12361" y="10123"/>
                </a:lnTo>
                <a:lnTo>
                  <a:pt x="12312" y="10147"/>
                </a:lnTo>
                <a:lnTo>
                  <a:pt x="12142" y="10342"/>
                </a:lnTo>
                <a:lnTo>
                  <a:pt x="11972" y="10561"/>
                </a:lnTo>
                <a:lnTo>
                  <a:pt x="11826" y="10780"/>
                </a:lnTo>
                <a:lnTo>
                  <a:pt x="11704" y="11023"/>
                </a:lnTo>
                <a:lnTo>
                  <a:pt x="11534" y="11339"/>
                </a:lnTo>
                <a:lnTo>
                  <a:pt x="11461" y="11510"/>
                </a:lnTo>
                <a:lnTo>
                  <a:pt x="11436" y="11704"/>
                </a:lnTo>
                <a:lnTo>
                  <a:pt x="10974" y="11510"/>
                </a:lnTo>
                <a:lnTo>
                  <a:pt x="11120" y="11120"/>
                </a:lnTo>
                <a:lnTo>
                  <a:pt x="11315" y="10755"/>
                </a:lnTo>
                <a:lnTo>
                  <a:pt x="11534" y="10317"/>
                </a:lnTo>
                <a:lnTo>
                  <a:pt x="11655" y="10123"/>
                </a:lnTo>
                <a:lnTo>
                  <a:pt x="11801" y="9928"/>
                </a:lnTo>
                <a:lnTo>
                  <a:pt x="11801" y="9904"/>
                </a:lnTo>
                <a:lnTo>
                  <a:pt x="11680" y="9952"/>
                </a:lnTo>
                <a:lnTo>
                  <a:pt x="11582" y="10001"/>
                </a:lnTo>
                <a:lnTo>
                  <a:pt x="11485" y="10074"/>
                </a:lnTo>
                <a:lnTo>
                  <a:pt x="11412" y="10171"/>
                </a:lnTo>
                <a:lnTo>
                  <a:pt x="11266" y="10366"/>
                </a:lnTo>
                <a:lnTo>
                  <a:pt x="11144" y="10561"/>
                </a:lnTo>
                <a:lnTo>
                  <a:pt x="10877" y="10974"/>
                </a:lnTo>
                <a:lnTo>
                  <a:pt x="10755" y="11193"/>
                </a:lnTo>
                <a:lnTo>
                  <a:pt x="10706" y="11315"/>
                </a:lnTo>
                <a:lnTo>
                  <a:pt x="10682" y="11437"/>
                </a:lnTo>
                <a:lnTo>
                  <a:pt x="10633" y="11412"/>
                </a:lnTo>
                <a:lnTo>
                  <a:pt x="10244" y="11315"/>
                </a:lnTo>
                <a:lnTo>
                  <a:pt x="10366" y="11023"/>
                </a:lnTo>
                <a:lnTo>
                  <a:pt x="10487" y="10731"/>
                </a:lnTo>
                <a:lnTo>
                  <a:pt x="10731" y="10244"/>
                </a:lnTo>
                <a:lnTo>
                  <a:pt x="10974" y="9782"/>
                </a:lnTo>
                <a:lnTo>
                  <a:pt x="10974" y="9758"/>
                </a:lnTo>
                <a:lnTo>
                  <a:pt x="10950" y="9758"/>
                </a:lnTo>
                <a:lnTo>
                  <a:pt x="10779" y="9928"/>
                </a:lnTo>
                <a:lnTo>
                  <a:pt x="10609" y="10123"/>
                </a:lnTo>
                <a:lnTo>
                  <a:pt x="10487" y="10317"/>
                </a:lnTo>
                <a:lnTo>
                  <a:pt x="10341" y="10536"/>
                </a:lnTo>
                <a:lnTo>
                  <a:pt x="10147" y="10877"/>
                </a:lnTo>
                <a:lnTo>
                  <a:pt x="10049" y="11072"/>
                </a:lnTo>
                <a:lnTo>
                  <a:pt x="9976" y="11266"/>
                </a:lnTo>
                <a:lnTo>
                  <a:pt x="9441" y="11169"/>
                </a:lnTo>
                <a:lnTo>
                  <a:pt x="9611" y="10828"/>
                </a:lnTo>
                <a:lnTo>
                  <a:pt x="9806" y="10463"/>
                </a:lnTo>
                <a:lnTo>
                  <a:pt x="9903" y="10269"/>
                </a:lnTo>
                <a:lnTo>
                  <a:pt x="9903" y="10171"/>
                </a:lnTo>
                <a:lnTo>
                  <a:pt x="9903" y="10074"/>
                </a:lnTo>
                <a:lnTo>
                  <a:pt x="9903" y="10050"/>
                </a:lnTo>
                <a:lnTo>
                  <a:pt x="9879" y="10050"/>
                </a:lnTo>
                <a:lnTo>
                  <a:pt x="9782" y="10098"/>
                </a:lnTo>
                <a:lnTo>
                  <a:pt x="9709" y="10147"/>
                </a:lnTo>
                <a:lnTo>
                  <a:pt x="9563" y="10317"/>
                </a:lnTo>
                <a:lnTo>
                  <a:pt x="9441" y="10488"/>
                </a:lnTo>
                <a:lnTo>
                  <a:pt x="9344" y="10658"/>
                </a:lnTo>
                <a:lnTo>
                  <a:pt x="9198" y="10877"/>
                </a:lnTo>
                <a:lnTo>
                  <a:pt x="9149" y="10999"/>
                </a:lnTo>
                <a:lnTo>
                  <a:pt x="9076" y="11120"/>
                </a:lnTo>
                <a:lnTo>
                  <a:pt x="8930" y="11072"/>
                </a:lnTo>
                <a:lnTo>
                  <a:pt x="8492" y="10974"/>
                </a:lnTo>
                <a:lnTo>
                  <a:pt x="8638" y="10731"/>
                </a:lnTo>
                <a:lnTo>
                  <a:pt x="8930" y="10244"/>
                </a:lnTo>
                <a:lnTo>
                  <a:pt x="9100" y="10025"/>
                </a:lnTo>
                <a:lnTo>
                  <a:pt x="9246" y="9782"/>
                </a:lnTo>
                <a:lnTo>
                  <a:pt x="9271" y="9758"/>
                </a:lnTo>
                <a:lnTo>
                  <a:pt x="9271" y="9733"/>
                </a:lnTo>
                <a:lnTo>
                  <a:pt x="9222" y="9733"/>
                </a:lnTo>
                <a:lnTo>
                  <a:pt x="9027" y="9879"/>
                </a:lnTo>
                <a:lnTo>
                  <a:pt x="8857" y="10025"/>
                </a:lnTo>
                <a:lnTo>
                  <a:pt x="8687" y="10196"/>
                </a:lnTo>
                <a:lnTo>
                  <a:pt x="8565" y="10390"/>
                </a:lnTo>
                <a:lnTo>
                  <a:pt x="8370" y="10634"/>
                </a:lnTo>
                <a:lnTo>
                  <a:pt x="8273" y="10780"/>
                </a:lnTo>
                <a:lnTo>
                  <a:pt x="8200" y="10926"/>
                </a:lnTo>
                <a:lnTo>
                  <a:pt x="7932" y="10853"/>
                </a:lnTo>
                <a:lnTo>
                  <a:pt x="8078" y="10536"/>
                </a:lnTo>
                <a:lnTo>
                  <a:pt x="8273" y="10220"/>
                </a:lnTo>
                <a:lnTo>
                  <a:pt x="8370" y="10074"/>
                </a:lnTo>
                <a:lnTo>
                  <a:pt x="8492" y="9952"/>
                </a:lnTo>
                <a:lnTo>
                  <a:pt x="8492" y="9928"/>
                </a:lnTo>
                <a:lnTo>
                  <a:pt x="8492" y="9904"/>
                </a:lnTo>
                <a:lnTo>
                  <a:pt x="8468" y="9879"/>
                </a:lnTo>
                <a:lnTo>
                  <a:pt x="8443" y="9904"/>
                </a:lnTo>
                <a:lnTo>
                  <a:pt x="8273" y="9977"/>
                </a:lnTo>
                <a:lnTo>
                  <a:pt x="8127" y="10074"/>
                </a:lnTo>
                <a:lnTo>
                  <a:pt x="8005" y="10196"/>
                </a:lnTo>
                <a:lnTo>
                  <a:pt x="7884" y="10342"/>
                </a:lnTo>
                <a:lnTo>
                  <a:pt x="7738" y="10561"/>
                </a:lnTo>
                <a:lnTo>
                  <a:pt x="7616" y="10804"/>
                </a:lnTo>
                <a:lnTo>
                  <a:pt x="7300" y="10731"/>
                </a:lnTo>
                <a:lnTo>
                  <a:pt x="7397" y="10561"/>
                </a:lnTo>
                <a:lnTo>
                  <a:pt x="7495" y="10390"/>
                </a:lnTo>
                <a:lnTo>
                  <a:pt x="7641" y="10123"/>
                </a:lnTo>
                <a:lnTo>
                  <a:pt x="7714" y="9977"/>
                </a:lnTo>
                <a:lnTo>
                  <a:pt x="7714" y="9831"/>
                </a:lnTo>
                <a:lnTo>
                  <a:pt x="7689" y="9831"/>
                </a:lnTo>
                <a:lnTo>
                  <a:pt x="7592" y="9904"/>
                </a:lnTo>
                <a:lnTo>
                  <a:pt x="7470" y="10025"/>
                </a:lnTo>
                <a:lnTo>
                  <a:pt x="7324" y="10293"/>
                </a:lnTo>
                <a:lnTo>
                  <a:pt x="7178" y="10488"/>
                </a:lnTo>
                <a:lnTo>
                  <a:pt x="7105" y="10585"/>
                </a:lnTo>
                <a:lnTo>
                  <a:pt x="7057" y="10682"/>
                </a:lnTo>
                <a:lnTo>
                  <a:pt x="6643" y="10585"/>
                </a:lnTo>
                <a:lnTo>
                  <a:pt x="6692" y="10488"/>
                </a:lnTo>
                <a:lnTo>
                  <a:pt x="6789" y="10293"/>
                </a:lnTo>
                <a:lnTo>
                  <a:pt x="6886" y="10074"/>
                </a:lnTo>
                <a:lnTo>
                  <a:pt x="7057" y="9636"/>
                </a:lnTo>
                <a:lnTo>
                  <a:pt x="7057" y="9612"/>
                </a:lnTo>
                <a:lnTo>
                  <a:pt x="7032" y="9587"/>
                </a:lnTo>
                <a:lnTo>
                  <a:pt x="7008" y="9612"/>
                </a:lnTo>
                <a:lnTo>
                  <a:pt x="6765" y="9904"/>
                </a:lnTo>
                <a:lnTo>
                  <a:pt x="6521" y="10196"/>
                </a:lnTo>
                <a:lnTo>
                  <a:pt x="6400" y="10342"/>
                </a:lnTo>
                <a:lnTo>
                  <a:pt x="6254" y="10512"/>
                </a:lnTo>
                <a:lnTo>
                  <a:pt x="5816" y="10463"/>
                </a:lnTo>
                <a:lnTo>
                  <a:pt x="5889" y="10244"/>
                </a:lnTo>
                <a:lnTo>
                  <a:pt x="6010" y="10050"/>
                </a:lnTo>
                <a:lnTo>
                  <a:pt x="6205" y="9806"/>
                </a:lnTo>
                <a:lnTo>
                  <a:pt x="6278" y="9685"/>
                </a:lnTo>
                <a:lnTo>
                  <a:pt x="6302" y="9612"/>
                </a:lnTo>
                <a:lnTo>
                  <a:pt x="6327" y="9539"/>
                </a:lnTo>
                <a:lnTo>
                  <a:pt x="6302" y="9514"/>
                </a:lnTo>
                <a:lnTo>
                  <a:pt x="6205" y="9514"/>
                </a:lnTo>
                <a:lnTo>
                  <a:pt x="6132" y="9539"/>
                </a:lnTo>
                <a:lnTo>
                  <a:pt x="5986" y="9660"/>
                </a:lnTo>
                <a:lnTo>
                  <a:pt x="5864" y="9782"/>
                </a:lnTo>
                <a:lnTo>
                  <a:pt x="5767" y="9928"/>
                </a:lnTo>
                <a:lnTo>
                  <a:pt x="5597" y="10171"/>
                </a:lnTo>
                <a:lnTo>
                  <a:pt x="5524" y="10293"/>
                </a:lnTo>
                <a:lnTo>
                  <a:pt x="5475" y="10439"/>
                </a:lnTo>
                <a:lnTo>
                  <a:pt x="5256" y="10463"/>
                </a:lnTo>
                <a:lnTo>
                  <a:pt x="5061" y="10488"/>
                </a:lnTo>
                <a:lnTo>
                  <a:pt x="5183" y="10220"/>
                </a:lnTo>
                <a:lnTo>
                  <a:pt x="5378" y="9855"/>
                </a:lnTo>
                <a:lnTo>
                  <a:pt x="5475" y="9660"/>
                </a:lnTo>
                <a:lnTo>
                  <a:pt x="5597" y="9490"/>
                </a:lnTo>
                <a:lnTo>
                  <a:pt x="5378" y="9636"/>
                </a:lnTo>
                <a:lnTo>
                  <a:pt x="5183" y="9806"/>
                </a:lnTo>
                <a:lnTo>
                  <a:pt x="4988" y="10025"/>
                </a:lnTo>
                <a:lnTo>
                  <a:pt x="4818" y="10244"/>
                </a:lnTo>
                <a:lnTo>
                  <a:pt x="4818" y="8979"/>
                </a:lnTo>
                <a:lnTo>
                  <a:pt x="4794" y="7714"/>
                </a:lnTo>
                <a:lnTo>
                  <a:pt x="4794" y="6254"/>
                </a:lnTo>
                <a:lnTo>
                  <a:pt x="4794" y="5718"/>
                </a:lnTo>
                <a:lnTo>
                  <a:pt x="4794" y="5426"/>
                </a:lnTo>
                <a:lnTo>
                  <a:pt x="4769" y="5159"/>
                </a:lnTo>
                <a:lnTo>
                  <a:pt x="5086" y="5159"/>
                </a:lnTo>
                <a:lnTo>
                  <a:pt x="5986" y="5134"/>
                </a:lnTo>
                <a:lnTo>
                  <a:pt x="6886" y="5086"/>
                </a:lnTo>
                <a:lnTo>
                  <a:pt x="7349" y="5037"/>
                </a:lnTo>
                <a:lnTo>
                  <a:pt x="7835" y="4988"/>
                </a:lnTo>
                <a:lnTo>
                  <a:pt x="8297" y="4916"/>
                </a:lnTo>
                <a:lnTo>
                  <a:pt x="8784" y="4843"/>
                </a:lnTo>
                <a:lnTo>
                  <a:pt x="9709" y="4624"/>
                </a:lnTo>
                <a:lnTo>
                  <a:pt x="10633" y="4356"/>
                </a:lnTo>
                <a:lnTo>
                  <a:pt x="11071" y="4210"/>
                </a:lnTo>
                <a:lnTo>
                  <a:pt x="11509" y="4040"/>
                </a:lnTo>
                <a:lnTo>
                  <a:pt x="11923" y="3869"/>
                </a:lnTo>
                <a:lnTo>
                  <a:pt x="12361" y="3675"/>
                </a:lnTo>
                <a:lnTo>
                  <a:pt x="13188" y="3261"/>
                </a:lnTo>
                <a:lnTo>
                  <a:pt x="14016" y="2823"/>
                </a:lnTo>
                <a:lnTo>
                  <a:pt x="14308" y="2653"/>
                </a:lnTo>
                <a:lnTo>
                  <a:pt x="14575" y="2458"/>
                </a:lnTo>
                <a:lnTo>
                  <a:pt x="15111" y="2044"/>
                </a:lnTo>
                <a:lnTo>
                  <a:pt x="15354" y="1850"/>
                </a:lnTo>
                <a:lnTo>
                  <a:pt x="15500" y="1752"/>
                </a:lnTo>
                <a:lnTo>
                  <a:pt x="15622" y="1631"/>
                </a:lnTo>
                <a:close/>
                <a:moveTo>
                  <a:pt x="15524" y="12605"/>
                </a:moveTo>
                <a:lnTo>
                  <a:pt x="15549" y="13164"/>
                </a:lnTo>
                <a:lnTo>
                  <a:pt x="15476" y="13164"/>
                </a:lnTo>
                <a:lnTo>
                  <a:pt x="15427" y="13213"/>
                </a:lnTo>
                <a:lnTo>
                  <a:pt x="15305" y="13286"/>
                </a:lnTo>
                <a:lnTo>
                  <a:pt x="15232" y="13432"/>
                </a:lnTo>
                <a:lnTo>
                  <a:pt x="15135" y="13578"/>
                </a:lnTo>
                <a:lnTo>
                  <a:pt x="15111" y="13529"/>
                </a:lnTo>
                <a:lnTo>
                  <a:pt x="15257" y="13213"/>
                </a:lnTo>
                <a:lnTo>
                  <a:pt x="15403" y="12872"/>
                </a:lnTo>
                <a:lnTo>
                  <a:pt x="15524" y="12605"/>
                </a:lnTo>
                <a:close/>
                <a:moveTo>
                  <a:pt x="15549" y="13359"/>
                </a:moveTo>
                <a:lnTo>
                  <a:pt x="15573" y="13943"/>
                </a:lnTo>
                <a:lnTo>
                  <a:pt x="15354" y="13748"/>
                </a:lnTo>
                <a:lnTo>
                  <a:pt x="15451" y="13553"/>
                </a:lnTo>
                <a:lnTo>
                  <a:pt x="15549" y="13359"/>
                </a:lnTo>
                <a:close/>
                <a:moveTo>
                  <a:pt x="16692" y="463"/>
                </a:moveTo>
                <a:lnTo>
                  <a:pt x="16789" y="487"/>
                </a:lnTo>
                <a:lnTo>
                  <a:pt x="16862" y="536"/>
                </a:lnTo>
                <a:lnTo>
                  <a:pt x="16935" y="633"/>
                </a:lnTo>
                <a:lnTo>
                  <a:pt x="16984" y="730"/>
                </a:lnTo>
                <a:lnTo>
                  <a:pt x="17033" y="852"/>
                </a:lnTo>
                <a:lnTo>
                  <a:pt x="17081" y="1047"/>
                </a:lnTo>
                <a:lnTo>
                  <a:pt x="17130" y="1314"/>
                </a:lnTo>
                <a:lnTo>
                  <a:pt x="17154" y="1582"/>
                </a:lnTo>
                <a:lnTo>
                  <a:pt x="17179" y="2142"/>
                </a:lnTo>
                <a:lnTo>
                  <a:pt x="17106" y="3237"/>
                </a:lnTo>
                <a:lnTo>
                  <a:pt x="17081" y="4380"/>
                </a:lnTo>
                <a:lnTo>
                  <a:pt x="17081" y="5499"/>
                </a:lnTo>
                <a:lnTo>
                  <a:pt x="17154" y="7738"/>
                </a:lnTo>
                <a:lnTo>
                  <a:pt x="17203" y="9928"/>
                </a:lnTo>
                <a:lnTo>
                  <a:pt x="17203" y="12094"/>
                </a:lnTo>
                <a:lnTo>
                  <a:pt x="17179" y="13213"/>
                </a:lnTo>
                <a:lnTo>
                  <a:pt x="17130" y="13748"/>
                </a:lnTo>
                <a:lnTo>
                  <a:pt x="17081" y="14283"/>
                </a:lnTo>
                <a:lnTo>
                  <a:pt x="17033" y="14502"/>
                </a:lnTo>
                <a:lnTo>
                  <a:pt x="16984" y="14746"/>
                </a:lnTo>
                <a:lnTo>
                  <a:pt x="16935" y="14867"/>
                </a:lnTo>
                <a:lnTo>
                  <a:pt x="16887" y="14965"/>
                </a:lnTo>
                <a:lnTo>
                  <a:pt x="16814" y="15038"/>
                </a:lnTo>
                <a:lnTo>
                  <a:pt x="16716" y="15111"/>
                </a:lnTo>
                <a:lnTo>
                  <a:pt x="16643" y="15111"/>
                </a:lnTo>
                <a:lnTo>
                  <a:pt x="16570" y="15086"/>
                </a:lnTo>
                <a:lnTo>
                  <a:pt x="16449" y="15038"/>
                </a:lnTo>
                <a:lnTo>
                  <a:pt x="16327" y="14916"/>
                </a:lnTo>
                <a:lnTo>
                  <a:pt x="16205" y="14794"/>
                </a:lnTo>
                <a:lnTo>
                  <a:pt x="16205" y="13991"/>
                </a:lnTo>
                <a:lnTo>
                  <a:pt x="16181" y="13188"/>
                </a:lnTo>
                <a:lnTo>
                  <a:pt x="16132" y="12361"/>
                </a:lnTo>
                <a:lnTo>
                  <a:pt x="16132" y="11558"/>
                </a:lnTo>
                <a:lnTo>
                  <a:pt x="16132" y="9636"/>
                </a:lnTo>
                <a:lnTo>
                  <a:pt x="16132" y="7714"/>
                </a:lnTo>
                <a:lnTo>
                  <a:pt x="16132" y="6789"/>
                </a:lnTo>
                <a:lnTo>
                  <a:pt x="16132" y="6327"/>
                </a:lnTo>
                <a:lnTo>
                  <a:pt x="16132" y="5864"/>
                </a:lnTo>
                <a:lnTo>
                  <a:pt x="16205" y="4988"/>
                </a:lnTo>
                <a:lnTo>
                  <a:pt x="16230" y="4551"/>
                </a:lnTo>
                <a:lnTo>
                  <a:pt x="16205" y="4113"/>
                </a:lnTo>
                <a:lnTo>
                  <a:pt x="16181" y="3237"/>
                </a:lnTo>
                <a:lnTo>
                  <a:pt x="16157" y="2799"/>
                </a:lnTo>
                <a:lnTo>
                  <a:pt x="16181" y="2361"/>
                </a:lnTo>
                <a:lnTo>
                  <a:pt x="16205" y="1558"/>
                </a:lnTo>
                <a:lnTo>
                  <a:pt x="16181" y="1144"/>
                </a:lnTo>
                <a:lnTo>
                  <a:pt x="16181" y="755"/>
                </a:lnTo>
                <a:lnTo>
                  <a:pt x="16254" y="657"/>
                </a:lnTo>
                <a:lnTo>
                  <a:pt x="16351" y="584"/>
                </a:lnTo>
                <a:lnTo>
                  <a:pt x="16570" y="487"/>
                </a:lnTo>
                <a:lnTo>
                  <a:pt x="16692" y="463"/>
                </a:lnTo>
                <a:close/>
                <a:moveTo>
                  <a:pt x="5597" y="10950"/>
                </a:moveTo>
                <a:lnTo>
                  <a:pt x="5597" y="11023"/>
                </a:lnTo>
                <a:lnTo>
                  <a:pt x="5621" y="11096"/>
                </a:lnTo>
                <a:lnTo>
                  <a:pt x="5694" y="11218"/>
                </a:lnTo>
                <a:lnTo>
                  <a:pt x="5743" y="11364"/>
                </a:lnTo>
                <a:lnTo>
                  <a:pt x="5767" y="11704"/>
                </a:lnTo>
                <a:lnTo>
                  <a:pt x="5791" y="12045"/>
                </a:lnTo>
                <a:lnTo>
                  <a:pt x="5816" y="12215"/>
                </a:lnTo>
                <a:lnTo>
                  <a:pt x="5840" y="12361"/>
                </a:lnTo>
                <a:lnTo>
                  <a:pt x="5864" y="12483"/>
                </a:lnTo>
                <a:lnTo>
                  <a:pt x="5548" y="12459"/>
                </a:lnTo>
                <a:lnTo>
                  <a:pt x="5207" y="12483"/>
                </a:lnTo>
                <a:lnTo>
                  <a:pt x="4988" y="12507"/>
                </a:lnTo>
                <a:lnTo>
                  <a:pt x="4745" y="12532"/>
                </a:lnTo>
                <a:lnTo>
                  <a:pt x="4502" y="12605"/>
                </a:lnTo>
                <a:lnTo>
                  <a:pt x="4404" y="12653"/>
                </a:lnTo>
                <a:lnTo>
                  <a:pt x="4307" y="12702"/>
                </a:lnTo>
                <a:lnTo>
                  <a:pt x="4258" y="12775"/>
                </a:lnTo>
                <a:lnTo>
                  <a:pt x="4210" y="12848"/>
                </a:lnTo>
                <a:lnTo>
                  <a:pt x="4210" y="12945"/>
                </a:lnTo>
                <a:lnTo>
                  <a:pt x="4258" y="13018"/>
                </a:lnTo>
                <a:lnTo>
                  <a:pt x="4356" y="13067"/>
                </a:lnTo>
                <a:lnTo>
                  <a:pt x="4453" y="13115"/>
                </a:lnTo>
                <a:lnTo>
                  <a:pt x="4623" y="13164"/>
                </a:lnTo>
                <a:lnTo>
                  <a:pt x="4842" y="13188"/>
                </a:lnTo>
                <a:lnTo>
                  <a:pt x="5037" y="13188"/>
                </a:lnTo>
                <a:lnTo>
                  <a:pt x="5475" y="13140"/>
                </a:lnTo>
                <a:lnTo>
                  <a:pt x="5670" y="13140"/>
                </a:lnTo>
                <a:lnTo>
                  <a:pt x="5864" y="13188"/>
                </a:lnTo>
                <a:lnTo>
                  <a:pt x="6035" y="13188"/>
                </a:lnTo>
                <a:lnTo>
                  <a:pt x="6205" y="13967"/>
                </a:lnTo>
                <a:lnTo>
                  <a:pt x="5572" y="13991"/>
                </a:lnTo>
                <a:lnTo>
                  <a:pt x="5183" y="13991"/>
                </a:lnTo>
                <a:lnTo>
                  <a:pt x="4988" y="14040"/>
                </a:lnTo>
                <a:lnTo>
                  <a:pt x="4891" y="14064"/>
                </a:lnTo>
                <a:lnTo>
                  <a:pt x="4794" y="14113"/>
                </a:lnTo>
                <a:lnTo>
                  <a:pt x="4745" y="14186"/>
                </a:lnTo>
                <a:lnTo>
                  <a:pt x="4696" y="14283"/>
                </a:lnTo>
                <a:lnTo>
                  <a:pt x="4696" y="14381"/>
                </a:lnTo>
                <a:lnTo>
                  <a:pt x="4721" y="14429"/>
                </a:lnTo>
                <a:lnTo>
                  <a:pt x="4769" y="14454"/>
                </a:lnTo>
                <a:lnTo>
                  <a:pt x="4915" y="14575"/>
                </a:lnTo>
                <a:lnTo>
                  <a:pt x="5110" y="14624"/>
                </a:lnTo>
                <a:lnTo>
                  <a:pt x="5305" y="14673"/>
                </a:lnTo>
                <a:lnTo>
                  <a:pt x="5499" y="14697"/>
                </a:lnTo>
                <a:lnTo>
                  <a:pt x="6327" y="14697"/>
                </a:lnTo>
                <a:lnTo>
                  <a:pt x="6473" y="15378"/>
                </a:lnTo>
                <a:lnTo>
                  <a:pt x="6010" y="15403"/>
                </a:lnTo>
                <a:lnTo>
                  <a:pt x="5645" y="15403"/>
                </a:lnTo>
                <a:lnTo>
                  <a:pt x="5475" y="15427"/>
                </a:lnTo>
                <a:lnTo>
                  <a:pt x="5305" y="15500"/>
                </a:lnTo>
                <a:lnTo>
                  <a:pt x="5256" y="15549"/>
                </a:lnTo>
                <a:lnTo>
                  <a:pt x="5207" y="15597"/>
                </a:lnTo>
                <a:lnTo>
                  <a:pt x="5183" y="15670"/>
                </a:lnTo>
                <a:lnTo>
                  <a:pt x="5183" y="15743"/>
                </a:lnTo>
                <a:lnTo>
                  <a:pt x="5183" y="15816"/>
                </a:lnTo>
                <a:lnTo>
                  <a:pt x="5207" y="15889"/>
                </a:lnTo>
                <a:lnTo>
                  <a:pt x="5256" y="15938"/>
                </a:lnTo>
                <a:lnTo>
                  <a:pt x="5305" y="15987"/>
                </a:lnTo>
                <a:lnTo>
                  <a:pt x="5475" y="16035"/>
                </a:lnTo>
                <a:lnTo>
                  <a:pt x="5645" y="16060"/>
                </a:lnTo>
                <a:lnTo>
                  <a:pt x="6010" y="16084"/>
                </a:lnTo>
                <a:lnTo>
                  <a:pt x="6278" y="16108"/>
                </a:lnTo>
                <a:lnTo>
                  <a:pt x="6448" y="16108"/>
                </a:lnTo>
                <a:lnTo>
                  <a:pt x="6570" y="16084"/>
                </a:lnTo>
                <a:lnTo>
                  <a:pt x="6619" y="16400"/>
                </a:lnTo>
                <a:lnTo>
                  <a:pt x="6643" y="16692"/>
                </a:lnTo>
                <a:lnTo>
                  <a:pt x="6619" y="16838"/>
                </a:lnTo>
                <a:lnTo>
                  <a:pt x="6594" y="16960"/>
                </a:lnTo>
                <a:lnTo>
                  <a:pt x="6521" y="17057"/>
                </a:lnTo>
                <a:lnTo>
                  <a:pt x="6424" y="17130"/>
                </a:lnTo>
                <a:lnTo>
                  <a:pt x="6327" y="17179"/>
                </a:lnTo>
                <a:lnTo>
                  <a:pt x="6205" y="17228"/>
                </a:lnTo>
                <a:lnTo>
                  <a:pt x="5913" y="17252"/>
                </a:lnTo>
                <a:lnTo>
                  <a:pt x="5597" y="17228"/>
                </a:lnTo>
                <a:lnTo>
                  <a:pt x="5305" y="17203"/>
                </a:lnTo>
                <a:lnTo>
                  <a:pt x="4794" y="17130"/>
                </a:lnTo>
                <a:lnTo>
                  <a:pt x="4575" y="17155"/>
                </a:lnTo>
                <a:lnTo>
                  <a:pt x="4307" y="17179"/>
                </a:lnTo>
                <a:lnTo>
                  <a:pt x="4064" y="17203"/>
                </a:lnTo>
                <a:lnTo>
                  <a:pt x="3796" y="17228"/>
                </a:lnTo>
                <a:lnTo>
                  <a:pt x="3553" y="17228"/>
                </a:lnTo>
                <a:lnTo>
                  <a:pt x="3455" y="17203"/>
                </a:lnTo>
                <a:lnTo>
                  <a:pt x="3358" y="17155"/>
                </a:lnTo>
                <a:lnTo>
                  <a:pt x="3261" y="17106"/>
                </a:lnTo>
                <a:lnTo>
                  <a:pt x="3163" y="17033"/>
                </a:lnTo>
                <a:lnTo>
                  <a:pt x="3115" y="16936"/>
                </a:lnTo>
                <a:lnTo>
                  <a:pt x="3042" y="16790"/>
                </a:lnTo>
                <a:lnTo>
                  <a:pt x="2969" y="16571"/>
                </a:lnTo>
                <a:lnTo>
                  <a:pt x="2920" y="16327"/>
                </a:lnTo>
                <a:lnTo>
                  <a:pt x="2847" y="15816"/>
                </a:lnTo>
                <a:lnTo>
                  <a:pt x="2750" y="14819"/>
                </a:lnTo>
                <a:lnTo>
                  <a:pt x="2725" y="14308"/>
                </a:lnTo>
                <a:lnTo>
                  <a:pt x="2677" y="13797"/>
                </a:lnTo>
                <a:lnTo>
                  <a:pt x="2652" y="13286"/>
                </a:lnTo>
                <a:lnTo>
                  <a:pt x="2628" y="12775"/>
                </a:lnTo>
                <a:lnTo>
                  <a:pt x="2506" y="11923"/>
                </a:lnTo>
                <a:lnTo>
                  <a:pt x="2385" y="11047"/>
                </a:lnTo>
                <a:lnTo>
                  <a:pt x="2385" y="11047"/>
                </a:lnTo>
                <a:lnTo>
                  <a:pt x="2823" y="11072"/>
                </a:lnTo>
                <a:lnTo>
                  <a:pt x="3090" y="11072"/>
                </a:lnTo>
                <a:lnTo>
                  <a:pt x="3358" y="11047"/>
                </a:lnTo>
                <a:lnTo>
                  <a:pt x="3407" y="11047"/>
                </a:lnTo>
                <a:lnTo>
                  <a:pt x="3504" y="11023"/>
                </a:lnTo>
                <a:lnTo>
                  <a:pt x="4064" y="10974"/>
                </a:lnTo>
                <a:lnTo>
                  <a:pt x="4331" y="10974"/>
                </a:lnTo>
                <a:lnTo>
                  <a:pt x="4599" y="10999"/>
                </a:lnTo>
                <a:lnTo>
                  <a:pt x="4623" y="11023"/>
                </a:lnTo>
                <a:lnTo>
                  <a:pt x="4672" y="11072"/>
                </a:lnTo>
                <a:lnTo>
                  <a:pt x="4745" y="11096"/>
                </a:lnTo>
                <a:lnTo>
                  <a:pt x="4818" y="11072"/>
                </a:lnTo>
                <a:lnTo>
                  <a:pt x="4867" y="11023"/>
                </a:lnTo>
                <a:lnTo>
                  <a:pt x="4891" y="10974"/>
                </a:lnTo>
                <a:lnTo>
                  <a:pt x="5597" y="10950"/>
                </a:lnTo>
                <a:close/>
                <a:moveTo>
                  <a:pt x="16546" y="0"/>
                </a:moveTo>
                <a:lnTo>
                  <a:pt x="16400" y="49"/>
                </a:lnTo>
                <a:lnTo>
                  <a:pt x="16278" y="122"/>
                </a:lnTo>
                <a:lnTo>
                  <a:pt x="16157" y="195"/>
                </a:lnTo>
                <a:lnTo>
                  <a:pt x="16035" y="292"/>
                </a:lnTo>
                <a:lnTo>
                  <a:pt x="15962" y="414"/>
                </a:lnTo>
                <a:lnTo>
                  <a:pt x="15889" y="414"/>
                </a:lnTo>
                <a:lnTo>
                  <a:pt x="15840" y="438"/>
                </a:lnTo>
                <a:lnTo>
                  <a:pt x="15792" y="487"/>
                </a:lnTo>
                <a:lnTo>
                  <a:pt x="15768" y="560"/>
                </a:lnTo>
                <a:lnTo>
                  <a:pt x="15695" y="803"/>
                </a:lnTo>
                <a:lnTo>
                  <a:pt x="15670" y="1071"/>
                </a:lnTo>
                <a:lnTo>
                  <a:pt x="15597" y="1047"/>
                </a:lnTo>
                <a:lnTo>
                  <a:pt x="15524" y="1071"/>
                </a:lnTo>
                <a:lnTo>
                  <a:pt x="15451" y="1095"/>
                </a:lnTo>
                <a:lnTo>
                  <a:pt x="15403" y="1168"/>
                </a:lnTo>
                <a:lnTo>
                  <a:pt x="15354" y="1266"/>
                </a:lnTo>
                <a:lnTo>
                  <a:pt x="15281" y="1339"/>
                </a:lnTo>
                <a:lnTo>
                  <a:pt x="15111" y="1485"/>
                </a:lnTo>
                <a:lnTo>
                  <a:pt x="14770" y="1728"/>
                </a:lnTo>
                <a:lnTo>
                  <a:pt x="14283" y="2093"/>
                </a:lnTo>
                <a:lnTo>
                  <a:pt x="14040" y="2288"/>
                </a:lnTo>
                <a:lnTo>
                  <a:pt x="13772" y="2434"/>
                </a:lnTo>
                <a:lnTo>
                  <a:pt x="13018" y="2847"/>
                </a:lnTo>
                <a:lnTo>
                  <a:pt x="12264" y="3237"/>
                </a:lnTo>
                <a:lnTo>
                  <a:pt x="11485" y="3577"/>
                </a:lnTo>
                <a:lnTo>
                  <a:pt x="11071" y="3723"/>
                </a:lnTo>
                <a:lnTo>
                  <a:pt x="10682" y="3869"/>
                </a:lnTo>
                <a:lnTo>
                  <a:pt x="9830" y="4137"/>
                </a:lnTo>
                <a:lnTo>
                  <a:pt x="8979" y="4356"/>
                </a:lnTo>
                <a:lnTo>
                  <a:pt x="8103" y="4526"/>
                </a:lnTo>
                <a:lnTo>
                  <a:pt x="7665" y="4575"/>
                </a:lnTo>
                <a:lnTo>
                  <a:pt x="7227" y="4624"/>
                </a:lnTo>
                <a:lnTo>
                  <a:pt x="6570" y="4672"/>
                </a:lnTo>
                <a:lnTo>
                  <a:pt x="5913" y="4697"/>
                </a:lnTo>
                <a:lnTo>
                  <a:pt x="5256" y="4721"/>
                </a:lnTo>
                <a:lnTo>
                  <a:pt x="4623" y="4745"/>
                </a:lnTo>
                <a:lnTo>
                  <a:pt x="4429" y="4697"/>
                </a:lnTo>
                <a:lnTo>
                  <a:pt x="4234" y="4672"/>
                </a:lnTo>
                <a:lnTo>
                  <a:pt x="3869" y="4624"/>
                </a:lnTo>
                <a:lnTo>
                  <a:pt x="3480" y="4648"/>
                </a:lnTo>
                <a:lnTo>
                  <a:pt x="3090" y="4648"/>
                </a:lnTo>
                <a:lnTo>
                  <a:pt x="2652" y="4672"/>
                </a:lnTo>
                <a:lnTo>
                  <a:pt x="2214" y="4721"/>
                </a:lnTo>
                <a:lnTo>
                  <a:pt x="1995" y="4770"/>
                </a:lnTo>
                <a:lnTo>
                  <a:pt x="1801" y="4818"/>
                </a:lnTo>
                <a:lnTo>
                  <a:pt x="1582" y="4916"/>
                </a:lnTo>
                <a:lnTo>
                  <a:pt x="1387" y="5013"/>
                </a:lnTo>
                <a:lnTo>
                  <a:pt x="1192" y="5110"/>
                </a:lnTo>
                <a:lnTo>
                  <a:pt x="1046" y="5232"/>
                </a:lnTo>
                <a:lnTo>
                  <a:pt x="876" y="5378"/>
                </a:lnTo>
                <a:lnTo>
                  <a:pt x="754" y="5524"/>
                </a:lnTo>
                <a:lnTo>
                  <a:pt x="633" y="5670"/>
                </a:lnTo>
                <a:lnTo>
                  <a:pt x="535" y="5840"/>
                </a:lnTo>
                <a:lnTo>
                  <a:pt x="365" y="6205"/>
                </a:lnTo>
                <a:lnTo>
                  <a:pt x="243" y="6570"/>
                </a:lnTo>
                <a:lnTo>
                  <a:pt x="146" y="6959"/>
                </a:lnTo>
                <a:lnTo>
                  <a:pt x="73" y="7373"/>
                </a:lnTo>
                <a:lnTo>
                  <a:pt x="49" y="7762"/>
                </a:lnTo>
                <a:lnTo>
                  <a:pt x="0" y="8200"/>
                </a:lnTo>
                <a:lnTo>
                  <a:pt x="0" y="8614"/>
                </a:lnTo>
                <a:lnTo>
                  <a:pt x="49" y="9028"/>
                </a:lnTo>
                <a:lnTo>
                  <a:pt x="146" y="9417"/>
                </a:lnTo>
                <a:lnTo>
                  <a:pt x="195" y="9612"/>
                </a:lnTo>
                <a:lnTo>
                  <a:pt x="292" y="9806"/>
                </a:lnTo>
                <a:lnTo>
                  <a:pt x="389" y="9977"/>
                </a:lnTo>
                <a:lnTo>
                  <a:pt x="487" y="10147"/>
                </a:lnTo>
                <a:lnTo>
                  <a:pt x="633" y="10293"/>
                </a:lnTo>
                <a:lnTo>
                  <a:pt x="779" y="10439"/>
                </a:lnTo>
                <a:lnTo>
                  <a:pt x="949" y="10585"/>
                </a:lnTo>
                <a:lnTo>
                  <a:pt x="1144" y="10707"/>
                </a:lnTo>
                <a:lnTo>
                  <a:pt x="1363" y="10804"/>
                </a:lnTo>
                <a:lnTo>
                  <a:pt x="1582" y="10901"/>
                </a:lnTo>
                <a:lnTo>
                  <a:pt x="1825" y="10950"/>
                </a:lnTo>
                <a:lnTo>
                  <a:pt x="2068" y="10999"/>
                </a:lnTo>
                <a:lnTo>
                  <a:pt x="2044" y="11242"/>
                </a:lnTo>
                <a:lnTo>
                  <a:pt x="2020" y="11510"/>
                </a:lnTo>
                <a:lnTo>
                  <a:pt x="2044" y="11777"/>
                </a:lnTo>
                <a:lnTo>
                  <a:pt x="2068" y="12021"/>
                </a:lnTo>
                <a:lnTo>
                  <a:pt x="2166" y="12556"/>
                </a:lnTo>
                <a:lnTo>
                  <a:pt x="2190" y="12824"/>
                </a:lnTo>
                <a:lnTo>
                  <a:pt x="2214" y="13067"/>
                </a:lnTo>
                <a:lnTo>
                  <a:pt x="2287" y="14478"/>
                </a:lnTo>
                <a:lnTo>
                  <a:pt x="2336" y="15184"/>
                </a:lnTo>
                <a:lnTo>
                  <a:pt x="2409" y="15914"/>
                </a:lnTo>
                <a:lnTo>
                  <a:pt x="2458" y="16327"/>
                </a:lnTo>
                <a:lnTo>
                  <a:pt x="2506" y="16741"/>
                </a:lnTo>
                <a:lnTo>
                  <a:pt x="2555" y="16960"/>
                </a:lnTo>
                <a:lnTo>
                  <a:pt x="2628" y="17155"/>
                </a:lnTo>
                <a:lnTo>
                  <a:pt x="2725" y="17325"/>
                </a:lnTo>
                <a:lnTo>
                  <a:pt x="2871" y="17495"/>
                </a:lnTo>
                <a:lnTo>
                  <a:pt x="2993" y="17593"/>
                </a:lnTo>
                <a:lnTo>
                  <a:pt x="3090" y="17641"/>
                </a:lnTo>
                <a:lnTo>
                  <a:pt x="3212" y="17714"/>
                </a:lnTo>
                <a:lnTo>
                  <a:pt x="3334" y="17739"/>
                </a:lnTo>
                <a:lnTo>
                  <a:pt x="3601" y="17763"/>
                </a:lnTo>
                <a:lnTo>
                  <a:pt x="3893" y="17763"/>
                </a:lnTo>
                <a:lnTo>
                  <a:pt x="4429" y="17690"/>
                </a:lnTo>
                <a:lnTo>
                  <a:pt x="4696" y="17666"/>
                </a:lnTo>
                <a:lnTo>
                  <a:pt x="4964" y="17666"/>
                </a:lnTo>
                <a:lnTo>
                  <a:pt x="5475" y="17714"/>
                </a:lnTo>
                <a:lnTo>
                  <a:pt x="5743" y="17739"/>
                </a:lnTo>
                <a:lnTo>
                  <a:pt x="6010" y="17763"/>
                </a:lnTo>
                <a:lnTo>
                  <a:pt x="6278" y="17739"/>
                </a:lnTo>
                <a:lnTo>
                  <a:pt x="6521" y="17690"/>
                </a:lnTo>
                <a:lnTo>
                  <a:pt x="6619" y="17641"/>
                </a:lnTo>
                <a:lnTo>
                  <a:pt x="6740" y="17568"/>
                </a:lnTo>
                <a:lnTo>
                  <a:pt x="6838" y="17495"/>
                </a:lnTo>
                <a:lnTo>
                  <a:pt x="6935" y="17398"/>
                </a:lnTo>
                <a:lnTo>
                  <a:pt x="7008" y="17301"/>
                </a:lnTo>
                <a:lnTo>
                  <a:pt x="7057" y="17179"/>
                </a:lnTo>
                <a:lnTo>
                  <a:pt x="7130" y="16960"/>
                </a:lnTo>
                <a:lnTo>
                  <a:pt x="7154" y="16717"/>
                </a:lnTo>
                <a:lnTo>
                  <a:pt x="7154" y="16449"/>
                </a:lnTo>
                <a:lnTo>
                  <a:pt x="7130" y="16181"/>
                </a:lnTo>
                <a:lnTo>
                  <a:pt x="7081" y="15938"/>
                </a:lnTo>
                <a:lnTo>
                  <a:pt x="6984" y="15451"/>
                </a:lnTo>
                <a:lnTo>
                  <a:pt x="6886" y="14770"/>
                </a:lnTo>
                <a:lnTo>
                  <a:pt x="6765" y="14089"/>
                </a:lnTo>
                <a:lnTo>
                  <a:pt x="6497" y="12726"/>
                </a:lnTo>
                <a:lnTo>
                  <a:pt x="6351" y="12167"/>
                </a:lnTo>
                <a:lnTo>
                  <a:pt x="6302" y="11875"/>
                </a:lnTo>
                <a:lnTo>
                  <a:pt x="6254" y="11583"/>
                </a:lnTo>
                <a:lnTo>
                  <a:pt x="6229" y="11291"/>
                </a:lnTo>
                <a:lnTo>
                  <a:pt x="6205" y="11120"/>
                </a:lnTo>
                <a:lnTo>
                  <a:pt x="6181" y="10974"/>
                </a:lnTo>
                <a:lnTo>
                  <a:pt x="6789" y="11096"/>
                </a:lnTo>
                <a:lnTo>
                  <a:pt x="7397" y="11218"/>
                </a:lnTo>
                <a:lnTo>
                  <a:pt x="10341" y="11826"/>
                </a:lnTo>
                <a:lnTo>
                  <a:pt x="10560" y="11875"/>
                </a:lnTo>
                <a:lnTo>
                  <a:pt x="10755" y="11923"/>
                </a:lnTo>
                <a:lnTo>
                  <a:pt x="11169" y="12094"/>
                </a:lnTo>
                <a:lnTo>
                  <a:pt x="11972" y="12459"/>
                </a:lnTo>
                <a:lnTo>
                  <a:pt x="13456" y="13115"/>
                </a:lnTo>
                <a:lnTo>
                  <a:pt x="14040" y="13407"/>
                </a:lnTo>
                <a:lnTo>
                  <a:pt x="14332" y="13553"/>
                </a:lnTo>
                <a:lnTo>
                  <a:pt x="14624" y="13748"/>
                </a:lnTo>
                <a:lnTo>
                  <a:pt x="14892" y="13943"/>
                </a:lnTo>
                <a:lnTo>
                  <a:pt x="15135" y="14162"/>
                </a:lnTo>
                <a:lnTo>
                  <a:pt x="15354" y="14381"/>
                </a:lnTo>
                <a:lnTo>
                  <a:pt x="15549" y="14648"/>
                </a:lnTo>
                <a:lnTo>
                  <a:pt x="15622" y="14721"/>
                </a:lnTo>
                <a:lnTo>
                  <a:pt x="15622" y="14940"/>
                </a:lnTo>
                <a:lnTo>
                  <a:pt x="15646" y="15062"/>
                </a:lnTo>
                <a:lnTo>
                  <a:pt x="15695" y="15159"/>
                </a:lnTo>
                <a:lnTo>
                  <a:pt x="15792" y="15208"/>
                </a:lnTo>
                <a:lnTo>
                  <a:pt x="15889" y="15232"/>
                </a:lnTo>
                <a:lnTo>
                  <a:pt x="16084" y="15427"/>
                </a:lnTo>
                <a:lnTo>
                  <a:pt x="16205" y="15500"/>
                </a:lnTo>
                <a:lnTo>
                  <a:pt x="16303" y="15573"/>
                </a:lnTo>
                <a:lnTo>
                  <a:pt x="16449" y="15622"/>
                </a:lnTo>
                <a:lnTo>
                  <a:pt x="16570" y="15646"/>
                </a:lnTo>
                <a:lnTo>
                  <a:pt x="16716" y="15670"/>
                </a:lnTo>
                <a:lnTo>
                  <a:pt x="16862" y="15646"/>
                </a:lnTo>
                <a:lnTo>
                  <a:pt x="16984" y="15622"/>
                </a:lnTo>
                <a:lnTo>
                  <a:pt x="17081" y="15573"/>
                </a:lnTo>
                <a:lnTo>
                  <a:pt x="17179" y="15500"/>
                </a:lnTo>
                <a:lnTo>
                  <a:pt x="17276" y="15427"/>
                </a:lnTo>
                <a:lnTo>
                  <a:pt x="17349" y="15330"/>
                </a:lnTo>
                <a:lnTo>
                  <a:pt x="17398" y="15232"/>
                </a:lnTo>
                <a:lnTo>
                  <a:pt x="17495" y="14989"/>
                </a:lnTo>
                <a:lnTo>
                  <a:pt x="17568" y="14721"/>
                </a:lnTo>
                <a:lnTo>
                  <a:pt x="17617" y="14478"/>
                </a:lnTo>
                <a:lnTo>
                  <a:pt x="17690" y="14016"/>
                </a:lnTo>
                <a:lnTo>
                  <a:pt x="17714" y="13651"/>
                </a:lnTo>
                <a:lnTo>
                  <a:pt x="17738" y="13261"/>
                </a:lnTo>
                <a:lnTo>
                  <a:pt x="17763" y="12507"/>
                </a:lnTo>
                <a:lnTo>
                  <a:pt x="17714" y="10974"/>
                </a:lnTo>
                <a:lnTo>
                  <a:pt x="17714" y="10123"/>
                </a:lnTo>
                <a:lnTo>
                  <a:pt x="17860" y="10098"/>
                </a:lnTo>
                <a:lnTo>
                  <a:pt x="17982" y="10001"/>
                </a:lnTo>
                <a:lnTo>
                  <a:pt x="18128" y="9904"/>
                </a:lnTo>
                <a:lnTo>
                  <a:pt x="18249" y="9782"/>
                </a:lnTo>
                <a:lnTo>
                  <a:pt x="18493" y="9514"/>
                </a:lnTo>
                <a:lnTo>
                  <a:pt x="18687" y="9271"/>
                </a:lnTo>
                <a:lnTo>
                  <a:pt x="18785" y="9101"/>
                </a:lnTo>
                <a:lnTo>
                  <a:pt x="18858" y="8906"/>
                </a:lnTo>
                <a:lnTo>
                  <a:pt x="18906" y="8711"/>
                </a:lnTo>
                <a:lnTo>
                  <a:pt x="18931" y="8517"/>
                </a:lnTo>
                <a:lnTo>
                  <a:pt x="18955" y="8103"/>
                </a:lnTo>
                <a:lnTo>
                  <a:pt x="18955" y="7714"/>
                </a:lnTo>
                <a:lnTo>
                  <a:pt x="18931" y="7373"/>
                </a:lnTo>
                <a:lnTo>
                  <a:pt x="18858" y="7057"/>
                </a:lnTo>
                <a:lnTo>
                  <a:pt x="18760" y="6740"/>
                </a:lnTo>
                <a:lnTo>
                  <a:pt x="18614" y="6448"/>
                </a:lnTo>
                <a:lnTo>
                  <a:pt x="18541" y="6327"/>
                </a:lnTo>
                <a:lnTo>
                  <a:pt x="18420" y="6205"/>
                </a:lnTo>
                <a:lnTo>
                  <a:pt x="18322" y="6083"/>
                </a:lnTo>
                <a:lnTo>
                  <a:pt x="18201" y="5986"/>
                </a:lnTo>
                <a:lnTo>
                  <a:pt x="18055" y="5889"/>
                </a:lnTo>
                <a:lnTo>
                  <a:pt x="17909" y="5840"/>
                </a:lnTo>
                <a:lnTo>
                  <a:pt x="17763" y="5767"/>
                </a:lnTo>
                <a:lnTo>
                  <a:pt x="17592" y="5743"/>
                </a:lnTo>
                <a:lnTo>
                  <a:pt x="17568" y="4697"/>
                </a:lnTo>
                <a:lnTo>
                  <a:pt x="17592" y="3942"/>
                </a:lnTo>
                <a:lnTo>
                  <a:pt x="17617" y="3164"/>
                </a:lnTo>
                <a:lnTo>
                  <a:pt x="17641" y="2409"/>
                </a:lnTo>
                <a:lnTo>
                  <a:pt x="17641" y="1631"/>
                </a:lnTo>
                <a:lnTo>
                  <a:pt x="17617" y="1193"/>
                </a:lnTo>
                <a:lnTo>
                  <a:pt x="17592" y="949"/>
                </a:lnTo>
                <a:lnTo>
                  <a:pt x="17519" y="730"/>
                </a:lnTo>
                <a:lnTo>
                  <a:pt x="17446" y="511"/>
                </a:lnTo>
                <a:lnTo>
                  <a:pt x="17325" y="317"/>
                </a:lnTo>
                <a:lnTo>
                  <a:pt x="17252" y="219"/>
                </a:lnTo>
                <a:lnTo>
                  <a:pt x="17179" y="146"/>
                </a:lnTo>
                <a:lnTo>
                  <a:pt x="17081" y="98"/>
                </a:lnTo>
                <a:lnTo>
                  <a:pt x="16984" y="49"/>
                </a:lnTo>
                <a:lnTo>
                  <a:pt x="16838" y="0"/>
                </a:lnTo>
                <a:close/>
              </a:path>
            </a:pathLst>
          </a:custGeom>
          <a:solidFill>
            <a:schemeClr val="accent2"/>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44" name="TextBox 43">
            <a:extLst>
              <a:ext uri="{FF2B5EF4-FFF2-40B4-BE49-F238E27FC236}">
                <a16:creationId xmlns:a16="http://schemas.microsoft.com/office/drawing/2014/main" id="{0FA5DCDE-FE23-92D6-9311-2ABA671E7E2C}"/>
              </a:ext>
            </a:extLst>
          </p:cNvPr>
          <p:cNvSpPr txBox="1"/>
          <p:nvPr/>
        </p:nvSpPr>
        <p:spPr bwMode="auto">
          <a:xfrm>
            <a:off x="1118841" y="205672"/>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WHAT…?</a:t>
            </a:r>
          </a:p>
        </p:txBody>
      </p:sp>
      <p:sp>
        <p:nvSpPr>
          <p:cNvPr id="45" name="Rectangle 44">
            <a:extLst>
              <a:ext uri="{FF2B5EF4-FFF2-40B4-BE49-F238E27FC236}">
                <a16:creationId xmlns:a16="http://schemas.microsoft.com/office/drawing/2014/main" id="{8A65C995-1126-C590-E107-54044F316B81}"/>
              </a:ext>
            </a:extLst>
          </p:cNvPr>
          <p:cNvSpPr/>
          <p:nvPr/>
        </p:nvSpPr>
        <p:spPr>
          <a:xfrm>
            <a:off x="7105270" y="20567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46" name="TextBox 45">
            <a:extLst>
              <a:ext uri="{FF2B5EF4-FFF2-40B4-BE49-F238E27FC236}">
                <a16:creationId xmlns:a16="http://schemas.microsoft.com/office/drawing/2014/main" id="{2880721F-AAB8-C37B-2B3A-E2F6E43C44DE}"/>
              </a:ext>
            </a:extLst>
          </p:cNvPr>
          <p:cNvSpPr txBox="1"/>
          <p:nvPr/>
        </p:nvSpPr>
        <p:spPr bwMode="auto">
          <a:xfrm>
            <a:off x="7793589" y="724349"/>
            <a:ext cx="1991421"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ilke idéer får jeg?</a:t>
            </a:r>
          </a:p>
        </p:txBody>
      </p:sp>
      <p:sp>
        <p:nvSpPr>
          <p:cNvPr id="48" name="TextBox 47">
            <a:extLst>
              <a:ext uri="{FF2B5EF4-FFF2-40B4-BE49-F238E27FC236}">
                <a16:creationId xmlns:a16="http://schemas.microsoft.com/office/drawing/2014/main" id="{EB80DBB0-0D19-3C21-C3E6-499A5980BF71}"/>
              </a:ext>
            </a:extLst>
          </p:cNvPr>
          <p:cNvSpPr txBox="1"/>
          <p:nvPr/>
        </p:nvSpPr>
        <p:spPr bwMode="auto">
          <a:xfrm>
            <a:off x="7791675" y="198581"/>
            <a:ext cx="1141090"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AHA!</a:t>
            </a:r>
          </a:p>
        </p:txBody>
      </p:sp>
      <p:sp>
        <p:nvSpPr>
          <p:cNvPr id="50" name="Shape 327">
            <a:extLst>
              <a:ext uri="{FF2B5EF4-FFF2-40B4-BE49-F238E27FC236}">
                <a16:creationId xmlns:a16="http://schemas.microsoft.com/office/drawing/2014/main" id="{1C361387-DF03-AD42-3C23-36D7B116CBCF}"/>
              </a:ext>
            </a:extLst>
          </p:cNvPr>
          <p:cNvSpPr>
            <a:spLocks noChangeAspect="1"/>
          </p:cNvSpPr>
          <p:nvPr/>
        </p:nvSpPr>
        <p:spPr>
          <a:xfrm>
            <a:off x="7183149" y="212763"/>
            <a:ext cx="530647" cy="572351"/>
          </a:xfrm>
          <a:custGeom>
            <a:avLst/>
            <a:gdLst/>
            <a:ahLst/>
            <a:cxnLst/>
            <a:rect l="0" t="0" r="0" b="0"/>
            <a:pathLst>
              <a:path w="15817" h="18981" extrusionOk="0">
                <a:moveTo>
                  <a:pt x="11364" y="1"/>
                </a:moveTo>
                <a:lnTo>
                  <a:pt x="11242" y="25"/>
                </a:lnTo>
                <a:lnTo>
                  <a:pt x="11169" y="74"/>
                </a:lnTo>
                <a:lnTo>
                  <a:pt x="11096" y="171"/>
                </a:lnTo>
                <a:lnTo>
                  <a:pt x="10780" y="731"/>
                </a:lnTo>
                <a:lnTo>
                  <a:pt x="10634" y="999"/>
                </a:lnTo>
                <a:lnTo>
                  <a:pt x="10537" y="1315"/>
                </a:lnTo>
                <a:lnTo>
                  <a:pt x="10512" y="1388"/>
                </a:lnTo>
                <a:lnTo>
                  <a:pt x="10537" y="1461"/>
                </a:lnTo>
                <a:lnTo>
                  <a:pt x="10585" y="1534"/>
                </a:lnTo>
                <a:lnTo>
                  <a:pt x="10634" y="1583"/>
                </a:lnTo>
                <a:lnTo>
                  <a:pt x="10707" y="1607"/>
                </a:lnTo>
                <a:lnTo>
                  <a:pt x="10804" y="1631"/>
                </a:lnTo>
                <a:lnTo>
                  <a:pt x="10877" y="1607"/>
                </a:lnTo>
                <a:lnTo>
                  <a:pt x="10950" y="1558"/>
                </a:lnTo>
                <a:lnTo>
                  <a:pt x="11145" y="1315"/>
                </a:lnTo>
                <a:lnTo>
                  <a:pt x="11291" y="1047"/>
                </a:lnTo>
                <a:lnTo>
                  <a:pt x="11510" y="731"/>
                </a:lnTo>
                <a:lnTo>
                  <a:pt x="11583" y="682"/>
                </a:lnTo>
                <a:lnTo>
                  <a:pt x="11656" y="609"/>
                </a:lnTo>
                <a:lnTo>
                  <a:pt x="11705" y="463"/>
                </a:lnTo>
                <a:lnTo>
                  <a:pt x="11729" y="342"/>
                </a:lnTo>
                <a:lnTo>
                  <a:pt x="11705" y="220"/>
                </a:lnTo>
                <a:lnTo>
                  <a:pt x="11656" y="123"/>
                </a:lnTo>
                <a:lnTo>
                  <a:pt x="11583" y="50"/>
                </a:lnTo>
                <a:lnTo>
                  <a:pt x="11486" y="25"/>
                </a:lnTo>
                <a:lnTo>
                  <a:pt x="11461" y="1"/>
                </a:lnTo>
                <a:close/>
                <a:moveTo>
                  <a:pt x="3821" y="171"/>
                </a:moveTo>
                <a:lnTo>
                  <a:pt x="3748" y="196"/>
                </a:lnTo>
                <a:lnTo>
                  <a:pt x="3699" y="244"/>
                </a:lnTo>
                <a:lnTo>
                  <a:pt x="3651" y="317"/>
                </a:lnTo>
                <a:lnTo>
                  <a:pt x="3651" y="390"/>
                </a:lnTo>
                <a:lnTo>
                  <a:pt x="3651" y="463"/>
                </a:lnTo>
                <a:lnTo>
                  <a:pt x="3699" y="634"/>
                </a:lnTo>
                <a:lnTo>
                  <a:pt x="3772" y="804"/>
                </a:lnTo>
                <a:lnTo>
                  <a:pt x="3943" y="1120"/>
                </a:lnTo>
                <a:lnTo>
                  <a:pt x="4113" y="1461"/>
                </a:lnTo>
                <a:lnTo>
                  <a:pt x="4259" y="1802"/>
                </a:lnTo>
                <a:lnTo>
                  <a:pt x="4332" y="1923"/>
                </a:lnTo>
                <a:lnTo>
                  <a:pt x="4429" y="1996"/>
                </a:lnTo>
                <a:lnTo>
                  <a:pt x="4527" y="2021"/>
                </a:lnTo>
                <a:lnTo>
                  <a:pt x="4624" y="1996"/>
                </a:lnTo>
                <a:lnTo>
                  <a:pt x="4721" y="1972"/>
                </a:lnTo>
                <a:lnTo>
                  <a:pt x="4794" y="1899"/>
                </a:lnTo>
                <a:lnTo>
                  <a:pt x="4843" y="1777"/>
                </a:lnTo>
                <a:lnTo>
                  <a:pt x="4843" y="1656"/>
                </a:lnTo>
                <a:lnTo>
                  <a:pt x="4794" y="1461"/>
                </a:lnTo>
                <a:lnTo>
                  <a:pt x="4697" y="1266"/>
                </a:lnTo>
                <a:lnTo>
                  <a:pt x="4502" y="901"/>
                </a:lnTo>
                <a:lnTo>
                  <a:pt x="4283" y="536"/>
                </a:lnTo>
                <a:lnTo>
                  <a:pt x="4162" y="390"/>
                </a:lnTo>
                <a:lnTo>
                  <a:pt x="4040" y="244"/>
                </a:lnTo>
                <a:lnTo>
                  <a:pt x="3967" y="196"/>
                </a:lnTo>
                <a:lnTo>
                  <a:pt x="3894" y="171"/>
                </a:lnTo>
                <a:close/>
                <a:moveTo>
                  <a:pt x="15452" y="4405"/>
                </a:moveTo>
                <a:lnTo>
                  <a:pt x="15379" y="4429"/>
                </a:lnTo>
                <a:lnTo>
                  <a:pt x="15306" y="4454"/>
                </a:lnTo>
                <a:lnTo>
                  <a:pt x="15135" y="4551"/>
                </a:lnTo>
                <a:lnTo>
                  <a:pt x="14941" y="4600"/>
                </a:lnTo>
                <a:lnTo>
                  <a:pt x="14551" y="4697"/>
                </a:lnTo>
                <a:lnTo>
                  <a:pt x="14357" y="4746"/>
                </a:lnTo>
                <a:lnTo>
                  <a:pt x="14162" y="4819"/>
                </a:lnTo>
                <a:lnTo>
                  <a:pt x="14016" y="4916"/>
                </a:lnTo>
                <a:lnTo>
                  <a:pt x="13870" y="5062"/>
                </a:lnTo>
                <a:lnTo>
                  <a:pt x="13822" y="5135"/>
                </a:lnTo>
                <a:lnTo>
                  <a:pt x="13822" y="5232"/>
                </a:lnTo>
                <a:lnTo>
                  <a:pt x="13846" y="5330"/>
                </a:lnTo>
                <a:lnTo>
                  <a:pt x="13895" y="5354"/>
                </a:lnTo>
                <a:lnTo>
                  <a:pt x="13943" y="5354"/>
                </a:lnTo>
                <a:lnTo>
                  <a:pt x="14138" y="5378"/>
                </a:lnTo>
                <a:lnTo>
                  <a:pt x="14357" y="5378"/>
                </a:lnTo>
                <a:lnTo>
                  <a:pt x="14600" y="5354"/>
                </a:lnTo>
                <a:lnTo>
                  <a:pt x="14819" y="5330"/>
                </a:lnTo>
                <a:lnTo>
                  <a:pt x="15038" y="5257"/>
                </a:lnTo>
                <a:lnTo>
                  <a:pt x="15257" y="5208"/>
                </a:lnTo>
                <a:lnTo>
                  <a:pt x="15452" y="5111"/>
                </a:lnTo>
                <a:lnTo>
                  <a:pt x="15646" y="5038"/>
                </a:lnTo>
                <a:lnTo>
                  <a:pt x="15719" y="4989"/>
                </a:lnTo>
                <a:lnTo>
                  <a:pt x="15768" y="4940"/>
                </a:lnTo>
                <a:lnTo>
                  <a:pt x="15817" y="4819"/>
                </a:lnTo>
                <a:lnTo>
                  <a:pt x="15792" y="4697"/>
                </a:lnTo>
                <a:lnTo>
                  <a:pt x="15768" y="4575"/>
                </a:lnTo>
                <a:lnTo>
                  <a:pt x="15671" y="4478"/>
                </a:lnTo>
                <a:lnTo>
                  <a:pt x="15573" y="4429"/>
                </a:lnTo>
                <a:lnTo>
                  <a:pt x="15452" y="4405"/>
                </a:lnTo>
                <a:close/>
                <a:moveTo>
                  <a:pt x="317" y="4697"/>
                </a:moveTo>
                <a:lnTo>
                  <a:pt x="220" y="4721"/>
                </a:lnTo>
                <a:lnTo>
                  <a:pt x="122" y="4746"/>
                </a:lnTo>
                <a:lnTo>
                  <a:pt x="25" y="4794"/>
                </a:lnTo>
                <a:lnTo>
                  <a:pt x="1" y="4867"/>
                </a:lnTo>
                <a:lnTo>
                  <a:pt x="1" y="4965"/>
                </a:lnTo>
                <a:lnTo>
                  <a:pt x="49" y="5038"/>
                </a:lnTo>
                <a:lnTo>
                  <a:pt x="195" y="5184"/>
                </a:lnTo>
                <a:lnTo>
                  <a:pt x="390" y="5305"/>
                </a:lnTo>
                <a:lnTo>
                  <a:pt x="779" y="5524"/>
                </a:lnTo>
                <a:lnTo>
                  <a:pt x="1169" y="5743"/>
                </a:lnTo>
                <a:lnTo>
                  <a:pt x="1388" y="5841"/>
                </a:lnTo>
                <a:lnTo>
                  <a:pt x="1582" y="5938"/>
                </a:lnTo>
                <a:lnTo>
                  <a:pt x="1655" y="5962"/>
                </a:lnTo>
                <a:lnTo>
                  <a:pt x="1801" y="5962"/>
                </a:lnTo>
                <a:lnTo>
                  <a:pt x="1850" y="5938"/>
                </a:lnTo>
                <a:lnTo>
                  <a:pt x="1923" y="5841"/>
                </a:lnTo>
                <a:lnTo>
                  <a:pt x="1972" y="5743"/>
                </a:lnTo>
                <a:lnTo>
                  <a:pt x="1996" y="5622"/>
                </a:lnTo>
                <a:lnTo>
                  <a:pt x="1972" y="5476"/>
                </a:lnTo>
                <a:lnTo>
                  <a:pt x="1899" y="5378"/>
                </a:lnTo>
                <a:lnTo>
                  <a:pt x="1826" y="5330"/>
                </a:lnTo>
                <a:lnTo>
                  <a:pt x="1777" y="5305"/>
                </a:lnTo>
                <a:lnTo>
                  <a:pt x="1582" y="5208"/>
                </a:lnTo>
                <a:lnTo>
                  <a:pt x="1388" y="5111"/>
                </a:lnTo>
                <a:lnTo>
                  <a:pt x="974" y="4892"/>
                </a:lnTo>
                <a:lnTo>
                  <a:pt x="755" y="4794"/>
                </a:lnTo>
                <a:lnTo>
                  <a:pt x="536" y="4721"/>
                </a:lnTo>
                <a:lnTo>
                  <a:pt x="317" y="4697"/>
                </a:lnTo>
                <a:close/>
                <a:moveTo>
                  <a:pt x="8809" y="6936"/>
                </a:moveTo>
                <a:lnTo>
                  <a:pt x="8736" y="6984"/>
                </a:lnTo>
                <a:lnTo>
                  <a:pt x="8663" y="7057"/>
                </a:lnTo>
                <a:lnTo>
                  <a:pt x="8566" y="7252"/>
                </a:lnTo>
                <a:lnTo>
                  <a:pt x="8468" y="7495"/>
                </a:lnTo>
                <a:lnTo>
                  <a:pt x="8420" y="7739"/>
                </a:lnTo>
                <a:lnTo>
                  <a:pt x="8395" y="7958"/>
                </a:lnTo>
                <a:lnTo>
                  <a:pt x="8395" y="8128"/>
                </a:lnTo>
                <a:lnTo>
                  <a:pt x="8322" y="8177"/>
                </a:lnTo>
                <a:lnTo>
                  <a:pt x="8201" y="8225"/>
                </a:lnTo>
                <a:lnTo>
                  <a:pt x="8079" y="8250"/>
                </a:lnTo>
                <a:lnTo>
                  <a:pt x="7982" y="8225"/>
                </a:lnTo>
                <a:lnTo>
                  <a:pt x="7909" y="8201"/>
                </a:lnTo>
                <a:lnTo>
                  <a:pt x="7982" y="8079"/>
                </a:lnTo>
                <a:lnTo>
                  <a:pt x="8055" y="7933"/>
                </a:lnTo>
                <a:lnTo>
                  <a:pt x="8103" y="7812"/>
                </a:lnTo>
                <a:lnTo>
                  <a:pt x="8103" y="7666"/>
                </a:lnTo>
                <a:lnTo>
                  <a:pt x="8103" y="7520"/>
                </a:lnTo>
                <a:lnTo>
                  <a:pt x="8055" y="7398"/>
                </a:lnTo>
                <a:lnTo>
                  <a:pt x="7957" y="7252"/>
                </a:lnTo>
                <a:lnTo>
                  <a:pt x="7836" y="7130"/>
                </a:lnTo>
                <a:lnTo>
                  <a:pt x="7763" y="7082"/>
                </a:lnTo>
                <a:lnTo>
                  <a:pt x="7617" y="7082"/>
                </a:lnTo>
                <a:lnTo>
                  <a:pt x="7544" y="7130"/>
                </a:lnTo>
                <a:lnTo>
                  <a:pt x="7446" y="7252"/>
                </a:lnTo>
                <a:lnTo>
                  <a:pt x="7373" y="7374"/>
                </a:lnTo>
                <a:lnTo>
                  <a:pt x="7325" y="7495"/>
                </a:lnTo>
                <a:lnTo>
                  <a:pt x="7300" y="7641"/>
                </a:lnTo>
                <a:lnTo>
                  <a:pt x="7300" y="7787"/>
                </a:lnTo>
                <a:lnTo>
                  <a:pt x="7300" y="7909"/>
                </a:lnTo>
                <a:lnTo>
                  <a:pt x="7325" y="8055"/>
                </a:lnTo>
                <a:lnTo>
                  <a:pt x="7373" y="8177"/>
                </a:lnTo>
                <a:lnTo>
                  <a:pt x="7179" y="8298"/>
                </a:lnTo>
                <a:lnTo>
                  <a:pt x="7081" y="8323"/>
                </a:lnTo>
                <a:lnTo>
                  <a:pt x="6984" y="8347"/>
                </a:lnTo>
                <a:lnTo>
                  <a:pt x="6911" y="8371"/>
                </a:lnTo>
                <a:lnTo>
                  <a:pt x="6814" y="8347"/>
                </a:lnTo>
                <a:lnTo>
                  <a:pt x="6692" y="8298"/>
                </a:lnTo>
                <a:lnTo>
                  <a:pt x="6570" y="8201"/>
                </a:lnTo>
                <a:lnTo>
                  <a:pt x="6497" y="8055"/>
                </a:lnTo>
                <a:lnTo>
                  <a:pt x="6449" y="7909"/>
                </a:lnTo>
                <a:lnTo>
                  <a:pt x="6449" y="7739"/>
                </a:lnTo>
                <a:lnTo>
                  <a:pt x="6497" y="7544"/>
                </a:lnTo>
                <a:lnTo>
                  <a:pt x="6497" y="7520"/>
                </a:lnTo>
                <a:lnTo>
                  <a:pt x="6473" y="7520"/>
                </a:lnTo>
                <a:lnTo>
                  <a:pt x="6449" y="7495"/>
                </a:lnTo>
                <a:lnTo>
                  <a:pt x="6424" y="7520"/>
                </a:lnTo>
                <a:lnTo>
                  <a:pt x="6327" y="7617"/>
                </a:lnTo>
                <a:lnTo>
                  <a:pt x="6254" y="7739"/>
                </a:lnTo>
                <a:lnTo>
                  <a:pt x="6230" y="7836"/>
                </a:lnTo>
                <a:lnTo>
                  <a:pt x="6206" y="7958"/>
                </a:lnTo>
                <a:lnTo>
                  <a:pt x="6206" y="8055"/>
                </a:lnTo>
                <a:lnTo>
                  <a:pt x="6206" y="8177"/>
                </a:lnTo>
                <a:lnTo>
                  <a:pt x="6254" y="8274"/>
                </a:lnTo>
                <a:lnTo>
                  <a:pt x="6303" y="8371"/>
                </a:lnTo>
                <a:lnTo>
                  <a:pt x="6376" y="8469"/>
                </a:lnTo>
                <a:lnTo>
                  <a:pt x="6449" y="8542"/>
                </a:lnTo>
                <a:lnTo>
                  <a:pt x="6546" y="8615"/>
                </a:lnTo>
                <a:lnTo>
                  <a:pt x="6643" y="8663"/>
                </a:lnTo>
                <a:lnTo>
                  <a:pt x="6765" y="8712"/>
                </a:lnTo>
                <a:lnTo>
                  <a:pt x="6862" y="8736"/>
                </a:lnTo>
                <a:lnTo>
                  <a:pt x="7008" y="8736"/>
                </a:lnTo>
                <a:lnTo>
                  <a:pt x="7130" y="8712"/>
                </a:lnTo>
                <a:lnTo>
                  <a:pt x="7349" y="8615"/>
                </a:lnTo>
                <a:lnTo>
                  <a:pt x="7592" y="8493"/>
                </a:lnTo>
                <a:lnTo>
                  <a:pt x="7690" y="8566"/>
                </a:lnTo>
                <a:lnTo>
                  <a:pt x="7836" y="8639"/>
                </a:lnTo>
                <a:lnTo>
                  <a:pt x="7982" y="8663"/>
                </a:lnTo>
                <a:lnTo>
                  <a:pt x="8128" y="8688"/>
                </a:lnTo>
                <a:lnTo>
                  <a:pt x="8225" y="8688"/>
                </a:lnTo>
                <a:lnTo>
                  <a:pt x="8347" y="8663"/>
                </a:lnTo>
                <a:lnTo>
                  <a:pt x="8566" y="8566"/>
                </a:lnTo>
                <a:lnTo>
                  <a:pt x="8639" y="8663"/>
                </a:lnTo>
                <a:lnTo>
                  <a:pt x="8736" y="8736"/>
                </a:lnTo>
                <a:lnTo>
                  <a:pt x="8833" y="8809"/>
                </a:lnTo>
                <a:lnTo>
                  <a:pt x="8931" y="8858"/>
                </a:lnTo>
                <a:lnTo>
                  <a:pt x="9174" y="8907"/>
                </a:lnTo>
                <a:lnTo>
                  <a:pt x="9417" y="8931"/>
                </a:lnTo>
                <a:lnTo>
                  <a:pt x="9661" y="8882"/>
                </a:lnTo>
                <a:lnTo>
                  <a:pt x="9880" y="8809"/>
                </a:lnTo>
                <a:lnTo>
                  <a:pt x="9977" y="8736"/>
                </a:lnTo>
                <a:lnTo>
                  <a:pt x="10074" y="8663"/>
                </a:lnTo>
                <a:lnTo>
                  <a:pt x="10172" y="8566"/>
                </a:lnTo>
                <a:lnTo>
                  <a:pt x="10269" y="8469"/>
                </a:lnTo>
                <a:lnTo>
                  <a:pt x="10293" y="8396"/>
                </a:lnTo>
                <a:lnTo>
                  <a:pt x="10293" y="8347"/>
                </a:lnTo>
                <a:lnTo>
                  <a:pt x="10269" y="8298"/>
                </a:lnTo>
                <a:lnTo>
                  <a:pt x="10245" y="8250"/>
                </a:lnTo>
                <a:lnTo>
                  <a:pt x="10172" y="8225"/>
                </a:lnTo>
                <a:lnTo>
                  <a:pt x="10123" y="8201"/>
                </a:lnTo>
                <a:lnTo>
                  <a:pt x="10001" y="8201"/>
                </a:lnTo>
                <a:lnTo>
                  <a:pt x="9782" y="8323"/>
                </a:lnTo>
                <a:lnTo>
                  <a:pt x="9563" y="8420"/>
                </a:lnTo>
                <a:lnTo>
                  <a:pt x="9442" y="8444"/>
                </a:lnTo>
                <a:lnTo>
                  <a:pt x="9344" y="8469"/>
                </a:lnTo>
                <a:lnTo>
                  <a:pt x="9223" y="8469"/>
                </a:lnTo>
                <a:lnTo>
                  <a:pt x="9101" y="8420"/>
                </a:lnTo>
                <a:lnTo>
                  <a:pt x="9004" y="8347"/>
                </a:lnTo>
                <a:lnTo>
                  <a:pt x="8931" y="8274"/>
                </a:lnTo>
                <a:lnTo>
                  <a:pt x="9052" y="8128"/>
                </a:lnTo>
                <a:lnTo>
                  <a:pt x="9150" y="7982"/>
                </a:lnTo>
                <a:lnTo>
                  <a:pt x="9247" y="7836"/>
                </a:lnTo>
                <a:lnTo>
                  <a:pt x="9296" y="7666"/>
                </a:lnTo>
                <a:lnTo>
                  <a:pt x="9320" y="7495"/>
                </a:lnTo>
                <a:lnTo>
                  <a:pt x="9296" y="7349"/>
                </a:lnTo>
                <a:lnTo>
                  <a:pt x="9247" y="7203"/>
                </a:lnTo>
                <a:lnTo>
                  <a:pt x="9150" y="7057"/>
                </a:lnTo>
                <a:lnTo>
                  <a:pt x="9052" y="6984"/>
                </a:lnTo>
                <a:lnTo>
                  <a:pt x="8955" y="6936"/>
                </a:lnTo>
                <a:close/>
                <a:moveTo>
                  <a:pt x="1947" y="9710"/>
                </a:moveTo>
                <a:lnTo>
                  <a:pt x="1801" y="9758"/>
                </a:lnTo>
                <a:lnTo>
                  <a:pt x="1582" y="9856"/>
                </a:lnTo>
                <a:lnTo>
                  <a:pt x="1363" y="10002"/>
                </a:lnTo>
                <a:lnTo>
                  <a:pt x="925" y="10294"/>
                </a:lnTo>
                <a:lnTo>
                  <a:pt x="706" y="10415"/>
                </a:lnTo>
                <a:lnTo>
                  <a:pt x="585" y="10513"/>
                </a:lnTo>
                <a:lnTo>
                  <a:pt x="463" y="10610"/>
                </a:lnTo>
                <a:lnTo>
                  <a:pt x="366" y="10707"/>
                </a:lnTo>
                <a:lnTo>
                  <a:pt x="317" y="10829"/>
                </a:lnTo>
                <a:lnTo>
                  <a:pt x="317" y="10878"/>
                </a:lnTo>
                <a:lnTo>
                  <a:pt x="341" y="10926"/>
                </a:lnTo>
                <a:lnTo>
                  <a:pt x="366" y="10999"/>
                </a:lnTo>
                <a:lnTo>
                  <a:pt x="439" y="11048"/>
                </a:lnTo>
                <a:lnTo>
                  <a:pt x="536" y="11097"/>
                </a:lnTo>
                <a:lnTo>
                  <a:pt x="633" y="11097"/>
                </a:lnTo>
                <a:lnTo>
                  <a:pt x="755" y="11072"/>
                </a:lnTo>
                <a:lnTo>
                  <a:pt x="877" y="11048"/>
                </a:lnTo>
                <a:lnTo>
                  <a:pt x="1120" y="10926"/>
                </a:lnTo>
                <a:lnTo>
                  <a:pt x="1315" y="10829"/>
                </a:lnTo>
                <a:lnTo>
                  <a:pt x="1728" y="10610"/>
                </a:lnTo>
                <a:lnTo>
                  <a:pt x="1947" y="10488"/>
                </a:lnTo>
                <a:lnTo>
                  <a:pt x="2142" y="10342"/>
                </a:lnTo>
                <a:lnTo>
                  <a:pt x="2264" y="10245"/>
                </a:lnTo>
                <a:lnTo>
                  <a:pt x="2312" y="10123"/>
                </a:lnTo>
                <a:lnTo>
                  <a:pt x="2312" y="10002"/>
                </a:lnTo>
                <a:lnTo>
                  <a:pt x="2264" y="9880"/>
                </a:lnTo>
                <a:lnTo>
                  <a:pt x="2191" y="9783"/>
                </a:lnTo>
                <a:lnTo>
                  <a:pt x="2069" y="9734"/>
                </a:lnTo>
                <a:lnTo>
                  <a:pt x="1947" y="9710"/>
                </a:lnTo>
                <a:close/>
                <a:moveTo>
                  <a:pt x="14065" y="10026"/>
                </a:moveTo>
                <a:lnTo>
                  <a:pt x="13895" y="10050"/>
                </a:lnTo>
                <a:lnTo>
                  <a:pt x="13846" y="10075"/>
                </a:lnTo>
                <a:lnTo>
                  <a:pt x="13797" y="10123"/>
                </a:lnTo>
                <a:lnTo>
                  <a:pt x="13773" y="10172"/>
                </a:lnTo>
                <a:lnTo>
                  <a:pt x="13749" y="10221"/>
                </a:lnTo>
                <a:lnTo>
                  <a:pt x="13773" y="10318"/>
                </a:lnTo>
                <a:lnTo>
                  <a:pt x="13797" y="10367"/>
                </a:lnTo>
                <a:lnTo>
                  <a:pt x="13846" y="10415"/>
                </a:lnTo>
                <a:lnTo>
                  <a:pt x="14138" y="10586"/>
                </a:lnTo>
                <a:lnTo>
                  <a:pt x="14454" y="10756"/>
                </a:lnTo>
                <a:lnTo>
                  <a:pt x="14624" y="10878"/>
                </a:lnTo>
                <a:lnTo>
                  <a:pt x="14819" y="10975"/>
                </a:lnTo>
                <a:lnTo>
                  <a:pt x="15014" y="11048"/>
                </a:lnTo>
                <a:lnTo>
                  <a:pt x="15208" y="11097"/>
                </a:lnTo>
                <a:lnTo>
                  <a:pt x="15379" y="11097"/>
                </a:lnTo>
                <a:lnTo>
                  <a:pt x="15427" y="11072"/>
                </a:lnTo>
                <a:lnTo>
                  <a:pt x="15500" y="11024"/>
                </a:lnTo>
                <a:lnTo>
                  <a:pt x="15573" y="10951"/>
                </a:lnTo>
                <a:lnTo>
                  <a:pt x="15598" y="10829"/>
                </a:lnTo>
                <a:lnTo>
                  <a:pt x="15598" y="10707"/>
                </a:lnTo>
                <a:lnTo>
                  <a:pt x="15549" y="10586"/>
                </a:lnTo>
                <a:lnTo>
                  <a:pt x="15500" y="10537"/>
                </a:lnTo>
                <a:lnTo>
                  <a:pt x="15452" y="10513"/>
                </a:lnTo>
                <a:lnTo>
                  <a:pt x="15379" y="10464"/>
                </a:lnTo>
                <a:lnTo>
                  <a:pt x="15306" y="10464"/>
                </a:lnTo>
                <a:lnTo>
                  <a:pt x="15135" y="10415"/>
                </a:lnTo>
                <a:lnTo>
                  <a:pt x="14965" y="10367"/>
                </a:lnTo>
                <a:lnTo>
                  <a:pt x="14600" y="10196"/>
                </a:lnTo>
                <a:lnTo>
                  <a:pt x="14430" y="10099"/>
                </a:lnTo>
                <a:lnTo>
                  <a:pt x="14260" y="10050"/>
                </a:lnTo>
                <a:lnTo>
                  <a:pt x="14065" y="10026"/>
                </a:lnTo>
                <a:close/>
                <a:moveTo>
                  <a:pt x="8468" y="2605"/>
                </a:moveTo>
                <a:lnTo>
                  <a:pt x="8760" y="2629"/>
                </a:lnTo>
                <a:lnTo>
                  <a:pt x="9052" y="2678"/>
                </a:lnTo>
                <a:lnTo>
                  <a:pt x="9344" y="2726"/>
                </a:lnTo>
                <a:lnTo>
                  <a:pt x="9125" y="2799"/>
                </a:lnTo>
                <a:lnTo>
                  <a:pt x="9101" y="2824"/>
                </a:lnTo>
                <a:lnTo>
                  <a:pt x="9101" y="2848"/>
                </a:lnTo>
                <a:lnTo>
                  <a:pt x="9101" y="2872"/>
                </a:lnTo>
                <a:lnTo>
                  <a:pt x="9125" y="2897"/>
                </a:lnTo>
                <a:lnTo>
                  <a:pt x="9223" y="2945"/>
                </a:lnTo>
                <a:lnTo>
                  <a:pt x="9320" y="2970"/>
                </a:lnTo>
                <a:lnTo>
                  <a:pt x="9442" y="2945"/>
                </a:lnTo>
                <a:lnTo>
                  <a:pt x="9563" y="2921"/>
                </a:lnTo>
                <a:lnTo>
                  <a:pt x="9855" y="2872"/>
                </a:lnTo>
                <a:lnTo>
                  <a:pt x="10269" y="3043"/>
                </a:lnTo>
                <a:lnTo>
                  <a:pt x="10074" y="3067"/>
                </a:lnTo>
                <a:lnTo>
                  <a:pt x="9855" y="3116"/>
                </a:lnTo>
                <a:lnTo>
                  <a:pt x="9685" y="3189"/>
                </a:lnTo>
                <a:lnTo>
                  <a:pt x="9515" y="3262"/>
                </a:lnTo>
                <a:lnTo>
                  <a:pt x="9515" y="3286"/>
                </a:lnTo>
                <a:lnTo>
                  <a:pt x="9490" y="3310"/>
                </a:lnTo>
                <a:lnTo>
                  <a:pt x="9515" y="3335"/>
                </a:lnTo>
                <a:lnTo>
                  <a:pt x="9539" y="3359"/>
                </a:lnTo>
                <a:lnTo>
                  <a:pt x="9953" y="3335"/>
                </a:lnTo>
                <a:lnTo>
                  <a:pt x="10342" y="3310"/>
                </a:lnTo>
                <a:lnTo>
                  <a:pt x="10780" y="3310"/>
                </a:lnTo>
                <a:lnTo>
                  <a:pt x="11048" y="3505"/>
                </a:lnTo>
                <a:lnTo>
                  <a:pt x="10756" y="3578"/>
                </a:lnTo>
                <a:lnTo>
                  <a:pt x="10464" y="3675"/>
                </a:lnTo>
                <a:lnTo>
                  <a:pt x="10245" y="3797"/>
                </a:lnTo>
                <a:lnTo>
                  <a:pt x="10099" y="3918"/>
                </a:lnTo>
                <a:lnTo>
                  <a:pt x="10074" y="3943"/>
                </a:lnTo>
                <a:lnTo>
                  <a:pt x="10099" y="3943"/>
                </a:lnTo>
                <a:lnTo>
                  <a:pt x="10391" y="3918"/>
                </a:lnTo>
                <a:lnTo>
                  <a:pt x="10683" y="3870"/>
                </a:lnTo>
                <a:lnTo>
                  <a:pt x="10975" y="3821"/>
                </a:lnTo>
                <a:lnTo>
                  <a:pt x="11291" y="3773"/>
                </a:lnTo>
                <a:lnTo>
                  <a:pt x="11364" y="3773"/>
                </a:lnTo>
                <a:lnTo>
                  <a:pt x="11583" y="3967"/>
                </a:lnTo>
                <a:lnTo>
                  <a:pt x="11778" y="4186"/>
                </a:lnTo>
                <a:lnTo>
                  <a:pt x="11388" y="4210"/>
                </a:lnTo>
                <a:lnTo>
                  <a:pt x="10829" y="4259"/>
                </a:lnTo>
                <a:lnTo>
                  <a:pt x="10561" y="4283"/>
                </a:lnTo>
                <a:lnTo>
                  <a:pt x="10318" y="4381"/>
                </a:lnTo>
                <a:lnTo>
                  <a:pt x="10293" y="4405"/>
                </a:lnTo>
                <a:lnTo>
                  <a:pt x="10293" y="4429"/>
                </a:lnTo>
                <a:lnTo>
                  <a:pt x="10318" y="4454"/>
                </a:lnTo>
                <a:lnTo>
                  <a:pt x="10585" y="4527"/>
                </a:lnTo>
                <a:lnTo>
                  <a:pt x="11705" y="4527"/>
                </a:lnTo>
                <a:lnTo>
                  <a:pt x="11997" y="4502"/>
                </a:lnTo>
                <a:lnTo>
                  <a:pt x="12216" y="4867"/>
                </a:lnTo>
                <a:lnTo>
                  <a:pt x="11851" y="4867"/>
                </a:lnTo>
                <a:lnTo>
                  <a:pt x="11267" y="4892"/>
                </a:lnTo>
                <a:lnTo>
                  <a:pt x="10658" y="4940"/>
                </a:lnTo>
                <a:lnTo>
                  <a:pt x="10634" y="4940"/>
                </a:lnTo>
                <a:lnTo>
                  <a:pt x="10634" y="4965"/>
                </a:lnTo>
                <a:lnTo>
                  <a:pt x="10634" y="4989"/>
                </a:lnTo>
                <a:lnTo>
                  <a:pt x="10658" y="5013"/>
                </a:lnTo>
                <a:lnTo>
                  <a:pt x="10902" y="5086"/>
                </a:lnTo>
                <a:lnTo>
                  <a:pt x="11169" y="5111"/>
                </a:lnTo>
                <a:lnTo>
                  <a:pt x="12021" y="5111"/>
                </a:lnTo>
                <a:lnTo>
                  <a:pt x="12362" y="5135"/>
                </a:lnTo>
                <a:lnTo>
                  <a:pt x="12556" y="5622"/>
                </a:lnTo>
                <a:lnTo>
                  <a:pt x="11461" y="5622"/>
                </a:lnTo>
                <a:lnTo>
                  <a:pt x="11291" y="5646"/>
                </a:lnTo>
                <a:lnTo>
                  <a:pt x="11145" y="5695"/>
                </a:lnTo>
                <a:lnTo>
                  <a:pt x="10999" y="5768"/>
                </a:lnTo>
                <a:lnTo>
                  <a:pt x="10975" y="5792"/>
                </a:lnTo>
                <a:lnTo>
                  <a:pt x="10999" y="5841"/>
                </a:lnTo>
                <a:lnTo>
                  <a:pt x="11267" y="5889"/>
                </a:lnTo>
                <a:lnTo>
                  <a:pt x="11534" y="5889"/>
                </a:lnTo>
                <a:lnTo>
                  <a:pt x="12070" y="5914"/>
                </a:lnTo>
                <a:lnTo>
                  <a:pt x="12654" y="5938"/>
                </a:lnTo>
                <a:lnTo>
                  <a:pt x="12702" y="6060"/>
                </a:lnTo>
                <a:lnTo>
                  <a:pt x="12727" y="6181"/>
                </a:lnTo>
                <a:lnTo>
                  <a:pt x="12386" y="6181"/>
                </a:lnTo>
                <a:lnTo>
                  <a:pt x="11729" y="6254"/>
                </a:lnTo>
                <a:lnTo>
                  <a:pt x="11413" y="6279"/>
                </a:lnTo>
                <a:lnTo>
                  <a:pt x="11121" y="6352"/>
                </a:lnTo>
                <a:lnTo>
                  <a:pt x="11096" y="6352"/>
                </a:lnTo>
                <a:lnTo>
                  <a:pt x="11096" y="6376"/>
                </a:lnTo>
                <a:lnTo>
                  <a:pt x="11096" y="6400"/>
                </a:lnTo>
                <a:lnTo>
                  <a:pt x="11121" y="6425"/>
                </a:lnTo>
                <a:lnTo>
                  <a:pt x="11388" y="6473"/>
                </a:lnTo>
                <a:lnTo>
                  <a:pt x="11656" y="6498"/>
                </a:lnTo>
                <a:lnTo>
                  <a:pt x="12508" y="6498"/>
                </a:lnTo>
                <a:lnTo>
                  <a:pt x="12824" y="6522"/>
                </a:lnTo>
                <a:lnTo>
                  <a:pt x="12873" y="6838"/>
                </a:lnTo>
                <a:lnTo>
                  <a:pt x="12556" y="6838"/>
                </a:lnTo>
                <a:lnTo>
                  <a:pt x="12240" y="6863"/>
                </a:lnTo>
                <a:lnTo>
                  <a:pt x="11753" y="6887"/>
                </a:lnTo>
                <a:lnTo>
                  <a:pt x="11510" y="6911"/>
                </a:lnTo>
                <a:lnTo>
                  <a:pt x="11267" y="6936"/>
                </a:lnTo>
                <a:lnTo>
                  <a:pt x="11242" y="6936"/>
                </a:lnTo>
                <a:lnTo>
                  <a:pt x="11242" y="6960"/>
                </a:lnTo>
                <a:lnTo>
                  <a:pt x="11242" y="7009"/>
                </a:lnTo>
                <a:lnTo>
                  <a:pt x="11267" y="7009"/>
                </a:lnTo>
                <a:lnTo>
                  <a:pt x="11461" y="7082"/>
                </a:lnTo>
                <a:lnTo>
                  <a:pt x="11680" y="7130"/>
                </a:lnTo>
                <a:lnTo>
                  <a:pt x="12727" y="7130"/>
                </a:lnTo>
                <a:lnTo>
                  <a:pt x="12921" y="7106"/>
                </a:lnTo>
                <a:lnTo>
                  <a:pt x="12994" y="7593"/>
                </a:lnTo>
                <a:lnTo>
                  <a:pt x="12994" y="7593"/>
                </a:lnTo>
                <a:lnTo>
                  <a:pt x="12848" y="7568"/>
                </a:lnTo>
                <a:lnTo>
                  <a:pt x="12702" y="7568"/>
                </a:lnTo>
                <a:lnTo>
                  <a:pt x="12435" y="7593"/>
                </a:lnTo>
                <a:lnTo>
                  <a:pt x="11997" y="7593"/>
                </a:lnTo>
                <a:lnTo>
                  <a:pt x="11778" y="7617"/>
                </a:lnTo>
                <a:lnTo>
                  <a:pt x="11559" y="7690"/>
                </a:lnTo>
                <a:lnTo>
                  <a:pt x="11534" y="7690"/>
                </a:lnTo>
                <a:lnTo>
                  <a:pt x="11534" y="7739"/>
                </a:lnTo>
                <a:lnTo>
                  <a:pt x="11534" y="7763"/>
                </a:lnTo>
                <a:lnTo>
                  <a:pt x="11559" y="7787"/>
                </a:lnTo>
                <a:lnTo>
                  <a:pt x="11778" y="7836"/>
                </a:lnTo>
                <a:lnTo>
                  <a:pt x="11997" y="7860"/>
                </a:lnTo>
                <a:lnTo>
                  <a:pt x="12435" y="7860"/>
                </a:lnTo>
                <a:lnTo>
                  <a:pt x="12702" y="7885"/>
                </a:lnTo>
                <a:lnTo>
                  <a:pt x="12848" y="7885"/>
                </a:lnTo>
                <a:lnTo>
                  <a:pt x="12994" y="7860"/>
                </a:lnTo>
                <a:lnTo>
                  <a:pt x="12994" y="7909"/>
                </a:lnTo>
                <a:lnTo>
                  <a:pt x="12994" y="8250"/>
                </a:lnTo>
                <a:lnTo>
                  <a:pt x="12873" y="8201"/>
                </a:lnTo>
                <a:lnTo>
                  <a:pt x="12775" y="8201"/>
                </a:lnTo>
                <a:lnTo>
                  <a:pt x="12532" y="8177"/>
                </a:lnTo>
                <a:lnTo>
                  <a:pt x="12094" y="8177"/>
                </a:lnTo>
                <a:lnTo>
                  <a:pt x="11875" y="8201"/>
                </a:lnTo>
                <a:lnTo>
                  <a:pt x="11656" y="8250"/>
                </a:lnTo>
                <a:lnTo>
                  <a:pt x="11656" y="8274"/>
                </a:lnTo>
                <a:lnTo>
                  <a:pt x="11632" y="8298"/>
                </a:lnTo>
                <a:lnTo>
                  <a:pt x="11656" y="8298"/>
                </a:lnTo>
                <a:lnTo>
                  <a:pt x="11656" y="8323"/>
                </a:lnTo>
                <a:lnTo>
                  <a:pt x="12045" y="8396"/>
                </a:lnTo>
                <a:lnTo>
                  <a:pt x="12410" y="8444"/>
                </a:lnTo>
                <a:lnTo>
                  <a:pt x="12702" y="8469"/>
                </a:lnTo>
                <a:lnTo>
                  <a:pt x="12824" y="8493"/>
                </a:lnTo>
                <a:lnTo>
                  <a:pt x="12970" y="8469"/>
                </a:lnTo>
                <a:lnTo>
                  <a:pt x="12873" y="8858"/>
                </a:lnTo>
                <a:lnTo>
                  <a:pt x="12654" y="8809"/>
                </a:lnTo>
                <a:lnTo>
                  <a:pt x="12483" y="8785"/>
                </a:lnTo>
                <a:lnTo>
                  <a:pt x="12264" y="8736"/>
                </a:lnTo>
                <a:lnTo>
                  <a:pt x="11826" y="8736"/>
                </a:lnTo>
                <a:lnTo>
                  <a:pt x="11607" y="8809"/>
                </a:lnTo>
                <a:lnTo>
                  <a:pt x="11583" y="8834"/>
                </a:lnTo>
                <a:lnTo>
                  <a:pt x="11583" y="8858"/>
                </a:lnTo>
                <a:lnTo>
                  <a:pt x="11583" y="8882"/>
                </a:lnTo>
                <a:lnTo>
                  <a:pt x="11851" y="8882"/>
                </a:lnTo>
                <a:lnTo>
                  <a:pt x="12094" y="8931"/>
                </a:lnTo>
                <a:lnTo>
                  <a:pt x="12556" y="9053"/>
                </a:lnTo>
                <a:lnTo>
                  <a:pt x="12775" y="9126"/>
                </a:lnTo>
                <a:lnTo>
                  <a:pt x="12654" y="9345"/>
                </a:lnTo>
                <a:lnTo>
                  <a:pt x="12508" y="9296"/>
                </a:lnTo>
                <a:lnTo>
                  <a:pt x="12313" y="9272"/>
                </a:lnTo>
                <a:lnTo>
                  <a:pt x="12143" y="9223"/>
                </a:lnTo>
                <a:lnTo>
                  <a:pt x="11972" y="9199"/>
                </a:lnTo>
                <a:lnTo>
                  <a:pt x="11607" y="9199"/>
                </a:lnTo>
                <a:lnTo>
                  <a:pt x="11583" y="9223"/>
                </a:lnTo>
                <a:lnTo>
                  <a:pt x="11583" y="9247"/>
                </a:lnTo>
                <a:lnTo>
                  <a:pt x="11583" y="9272"/>
                </a:lnTo>
                <a:lnTo>
                  <a:pt x="11924" y="9418"/>
                </a:lnTo>
                <a:lnTo>
                  <a:pt x="12240" y="9564"/>
                </a:lnTo>
                <a:lnTo>
                  <a:pt x="12532" y="9637"/>
                </a:lnTo>
                <a:lnTo>
                  <a:pt x="12337" y="9929"/>
                </a:lnTo>
                <a:lnTo>
                  <a:pt x="12337" y="9977"/>
                </a:lnTo>
                <a:lnTo>
                  <a:pt x="12167" y="9904"/>
                </a:lnTo>
                <a:lnTo>
                  <a:pt x="11997" y="9880"/>
                </a:lnTo>
                <a:lnTo>
                  <a:pt x="11802" y="9831"/>
                </a:lnTo>
                <a:lnTo>
                  <a:pt x="11242" y="9831"/>
                </a:lnTo>
                <a:lnTo>
                  <a:pt x="11218" y="9856"/>
                </a:lnTo>
                <a:lnTo>
                  <a:pt x="11218" y="9880"/>
                </a:lnTo>
                <a:lnTo>
                  <a:pt x="11242" y="9880"/>
                </a:lnTo>
                <a:lnTo>
                  <a:pt x="11534" y="10002"/>
                </a:lnTo>
                <a:lnTo>
                  <a:pt x="11851" y="10123"/>
                </a:lnTo>
                <a:lnTo>
                  <a:pt x="12167" y="10245"/>
                </a:lnTo>
                <a:lnTo>
                  <a:pt x="11972" y="10513"/>
                </a:lnTo>
                <a:lnTo>
                  <a:pt x="11826" y="10488"/>
                </a:lnTo>
                <a:lnTo>
                  <a:pt x="11413" y="10391"/>
                </a:lnTo>
                <a:lnTo>
                  <a:pt x="11023" y="10342"/>
                </a:lnTo>
                <a:lnTo>
                  <a:pt x="10975" y="10342"/>
                </a:lnTo>
                <a:lnTo>
                  <a:pt x="10975" y="10367"/>
                </a:lnTo>
                <a:lnTo>
                  <a:pt x="10975" y="10391"/>
                </a:lnTo>
                <a:lnTo>
                  <a:pt x="10999" y="10440"/>
                </a:lnTo>
                <a:lnTo>
                  <a:pt x="11145" y="10537"/>
                </a:lnTo>
                <a:lnTo>
                  <a:pt x="11315" y="10610"/>
                </a:lnTo>
                <a:lnTo>
                  <a:pt x="11632" y="10732"/>
                </a:lnTo>
                <a:lnTo>
                  <a:pt x="11802" y="10780"/>
                </a:lnTo>
                <a:lnTo>
                  <a:pt x="11656" y="10999"/>
                </a:lnTo>
                <a:lnTo>
                  <a:pt x="11510" y="10951"/>
                </a:lnTo>
                <a:lnTo>
                  <a:pt x="11364" y="10926"/>
                </a:lnTo>
                <a:lnTo>
                  <a:pt x="11072" y="10853"/>
                </a:lnTo>
                <a:lnTo>
                  <a:pt x="10950" y="10853"/>
                </a:lnTo>
                <a:lnTo>
                  <a:pt x="10804" y="10902"/>
                </a:lnTo>
                <a:lnTo>
                  <a:pt x="10780" y="10926"/>
                </a:lnTo>
                <a:lnTo>
                  <a:pt x="10756" y="10951"/>
                </a:lnTo>
                <a:lnTo>
                  <a:pt x="10756" y="10999"/>
                </a:lnTo>
                <a:lnTo>
                  <a:pt x="10780" y="11048"/>
                </a:lnTo>
                <a:lnTo>
                  <a:pt x="10902" y="11121"/>
                </a:lnTo>
                <a:lnTo>
                  <a:pt x="11023" y="11170"/>
                </a:lnTo>
                <a:lnTo>
                  <a:pt x="11267" y="11243"/>
                </a:lnTo>
                <a:lnTo>
                  <a:pt x="11461" y="11291"/>
                </a:lnTo>
                <a:lnTo>
                  <a:pt x="11242" y="11583"/>
                </a:lnTo>
                <a:lnTo>
                  <a:pt x="11072" y="11535"/>
                </a:lnTo>
                <a:lnTo>
                  <a:pt x="10877" y="11535"/>
                </a:lnTo>
                <a:lnTo>
                  <a:pt x="10683" y="11583"/>
                </a:lnTo>
                <a:lnTo>
                  <a:pt x="10658" y="11608"/>
                </a:lnTo>
                <a:lnTo>
                  <a:pt x="10683" y="11632"/>
                </a:lnTo>
                <a:lnTo>
                  <a:pt x="10829" y="11681"/>
                </a:lnTo>
                <a:lnTo>
                  <a:pt x="10975" y="11729"/>
                </a:lnTo>
                <a:lnTo>
                  <a:pt x="11096" y="11778"/>
                </a:lnTo>
                <a:lnTo>
                  <a:pt x="10877" y="12143"/>
                </a:lnTo>
                <a:lnTo>
                  <a:pt x="10829" y="12118"/>
                </a:lnTo>
                <a:lnTo>
                  <a:pt x="10658" y="12045"/>
                </a:lnTo>
                <a:lnTo>
                  <a:pt x="10561" y="11997"/>
                </a:lnTo>
                <a:lnTo>
                  <a:pt x="10464" y="11972"/>
                </a:lnTo>
                <a:lnTo>
                  <a:pt x="10439" y="11997"/>
                </a:lnTo>
                <a:lnTo>
                  <a:pt x="10439" y="12045"/>
                </a:lnTo>
                <a:lnTo>
                  <a:pt x="10488" y="12118"/>
                </a:lnTo>
                <a:lnTo>
                  <a:pt x="10585" y="12191"/>
                </a:lnTo>
                <a:lnTo>
                  <a:pt x="10756" y="12313"/>
                </a:lnTo>
                <a:lnTo>
                  <a:pt x="10561" y="12654"/>
                </a:lnTo>
                <a:lnTo>
                  <a:pt x="10415" y="12629"/>
                </a:lnTo>
                <a:lnTo>
                  <a:pt x="10172" y="12629"/>
                </a:lnTo>
                <a:lnTo>
                  <a:pt x="10026" y="12654"/>
                </a:lnTo>
                <a:lnTo>
                  <a:pt x="10026" y="12678"/>
                </a:lnTo>
                <a:lnTo>
                  <a:pt x="10026" y="12702"/>
                </a:lnTo>
                <a:lnTo>
                  <a:pt x="10245" y="12800"/>
                </a:lnTo>
                <a:lnTo>
                  <a:pt x="10439" y="12897"/>
                </a:lnTo>
                <a:lnTo>
                  <a:pt x="10196" y="13384"/>
                </a:lnTo>
                <a:lnTo>
                  <a:pt x="9880" y="13384"/>
                </a:lnTo>
                <a:lnTo>
                  <a:pt x="9904" y="13432"/>
                </a:lnTo>
                <a:lnTo>
                  <a:pt x="10147" y="13505"/>
                </a:lnTo>
                <a:lnTo>
                  <a:pt x="10074" y="13700"/>
                </a:lnTo>
                <a:lnTo>
                  <a:pt x="10026" y="13895"/>
                </a:lnTo>
                <a:lnTo>
                  <a:pt x="9953" y="14284"/>
                </a:lnTo>
                <a:lnTo>
                  <a:pt x="9880" y="14673"/>
                </a:lnTo>
                <a:lnTo>
                  <a:pt x="9807" y="15087"/>
                </a:lnTo>
                <a:lnTo>
                  <a:pt x="9101" y="15111"/>
                </a:lnTo>
                <a:lnTo>
                  <a:pt x="9247" y="14673"/>
                </a:lnTo>
                <a:lnTo>
                  <a:pt x="9344" y="14235"/>
                </a:lnTo>
                <a:lnTo>
                  <a:pt x="9539" y="13359"/>
                </a:lnTo>
                <a:lnTo>
                  <a:pt x="9734" y="12459"/>
                </a:lnTo>
                <a:lnTo>
                  <a:pt x="9855" y="12021"/>
                </a:lnTo>
                <a:lnTo>
                  <a:pt x="9977" y="11583"/>
                </a:lnTo>
                <a:lnTo>
                  <a:pt x="10269" y="10659"/>
                </a:lnTo>
                <a:lnTo>
                  <a:pt x="10537" y="9734"/>
                </a:lnTo>
                <a:lnTo>
                  <a:pt x="10658" y="9320"/>
                </a:lnTo>
                <a:lnTo>
                  <a:pt x="10756" y="8858"/>
                </a:lnTo>
                <a:lnTo>
                  <a:pt x="10780" y="8639"/>
                </a:lnTo>
                <a:lnTo>
                  <a:pt x="10780" y="8396"/>
                </a:lnTo>
                <a:lnTo>
                  <a:pt x="10756" y="8177"/>
                </a:lnTo>
                <a:lnTo>
                  <a:pt x="10707" y="7958"/>
                </a:lnTo>
                <a:lnTo>
                  <a:pt x="10683" y="7933"/>
                </a:lnTo>
                <a:lnTo>
                  <a:pt x="10634" y="7933"/>
                </a:lnTo>
                <a:lnTo>
                  <a:pt x="10610" y="7958"/>
                </a:lnTo>
                <a:lnTo>
                  <a:pt x="10537" y="8177"/>
                </a:lnTo>
                <a:lnTo>
                  <a:pt x="10464" y="8420"/>
                </a:lnTo>
                <a:lnTo>
                  <a:pt x="10366" y="8882"/>
                </a:lnTo>
                <a:lnTo>
                  <a:pt x="10293" y="9369"/>
                </a:lnTo>
                <a:lnTo>
                  <a:pt x="10172" y="9831"/>
                </a:lnTo>
                <a:lnTo>
                  <a:pt x="9904" y="10756"/>
                </a:lnTo>
                <a:lnTo>
                  <a:pt x="9588" y="11656"/>
                </a:lnTo>
                <a:lnTo>
                  <a:pt x="9466" y="12094"/>
                </a:lnTo>
                <a:lnTo>
                  <a:pt x="9369" y="12532"/>
                </a:lnTo>
                <a:lnTo>
                  <a:pt x="9174" y="13384"/>
                </a:lnTo>
                <a:lnTo>
                  <a:pt x="8979" y="14260"/>
                </a:lnTo>
                <a:lnTo>
                  <a:pt x="8858" y="14698"/>
                </a:lnTo>
                <a:lnTo>
                  <a:pt x="8736" y="15111"/>
                </a:lnTo>
                <a:lnTo>
                  <a:pt x="8128" y="15136"/>
                </a:lnTo>
                <a:lnTo>
                  <a:pt x="7519" y="15087"/>
                </a:lnTo>
                <a:lnTo>
                  <a:pt x="7179" y="15063"/>
                </a:lnTo>
                <a:lnTo>
                  <a:pt x="7154" y="15038"/>
                </a:lnTo>
                <a:lnTo>
                  <a:pt x="7081" y="14698"/>
                </a:lnTo>
                <a:lnTo>
                  <a:pt x="7033" y="14357"/>
                </a:lnTo>
                <a:lnTo>
                  <a:pt x="6935" y="13651"/>
                </a:lnTo>
                <a:lnTo>
                  <a:pt x="6765" y="12605"/>
                </a:lnTo>
                <a:lnTo>
                  <a:pt x="6570" y="11583"/>
                </a:lnTo>
                <a:lnTo>
                  <a:pt x="6230" y="9880"/>
                </a:lnTo>
                <a:lnTo>
                  <a:pt x="6060" y="9028"/>
                </a:lnTo>
                <a:lnTo>
                  <a:pt x="5841" y="8177"/>
                </a:lnTo>
                <a:lnTo>
                  <a:pt x="5816" y="8152"/>
                </a:lnTo>
                <a:lnTo>
                  <a:pt x="5768" y="8128"/>
                </a:lnTo>
                <a:lnTo>
                  <a:pt x="5743" y="8128"/>
                </a:lnTo>
                <a:lnTo>
                  <a:pt x="5695" y="8152"/>
                </a:lnTo>
                <a:lnTo>
                  <a:pt x="5646" y="8298"/>
                </a:lnTo>
                <a:lnTo>
                  <a:pt x="5646" y="8420"/>
                </a:lnTo>
                <a:lnTo>
                  <a:pt x="5646" y="8542"/>
                </a:lnTo>
                <a:lnTo>
                  <a:pt x="5646" y="8663"/>
                </a:lnTo>
                <a:lnTo>
                  <a:pt x="5719" y="8931"/>
                </a:lnTo>
                <a:lnTo>
                  <a:pt x="5768" y="9199"/>
                </a:lnTo>
                <a:lnTo>
                  <a:pt x="5865" y="9734"/>
                </a:lnTo>
                <a:lnTo>
                  <a:pt x="5962" y="10245"/>
                </a:lnTo>
                <a:lnTo>
                  <a:pt x="6035" y="10780"/>
                </a:lnTo>
                <a:lnTo>
                  <a:pt x="6133" y="11316"/>
                </a:lnTo>
                <a:lnTo>
                  <a:pt x="6327" y="12337"/>
                </a:lnTo>
                <a:lnTo>
                  <a:pt x="6522" y="13384"/>
                </a:lnTo>
                <a:lnTo>
                  <a:pt x="6570" y="13773"/>
                </a:lnTo>
                <a:lnTo>
                  <a:pt x="6619" y="14211"/>
                </a:lnTo>
                <a:lnTo>
                  <a:pt x="6668" y="14625"/>
                </a:lnTo>
                <a:lnTo>
                  <a:pt x="6716" y="14819"/>
                </a:lnTo>
                <a:lnTo>
                  <a:pt x="6765" y="15014"/>
                </a:lnTo>
                <a:lnTo>
                  <a:pt x="6497" y="15038"/>
                </a:lnTo>
                <a:lnTo>
                  <a:pt x="6473" y="14625"/>
                </a:lnTo>
                <a:lnTo>
                  <a:pt x="6400" y="14235"/>
                </a:lnTo>
                <a:lnTo>
                  <a:pt x="6279" y="13846"/>
                </a:lnTo>
                <a:lnTo>
                  <a:pt x="6133" y="13481"/>
                </a:lnTo>
                <a:lnTo>
                  <a:pt x="5938" y="13116"/>
                </a:lnTo>
                <a:lnTo>
                  <a:pt x="5743" y="12775"/>
                </a:lnTo>
                <a:lnTo>
                  <a:pt x="5281" y="12070"/>
                </a:lnTo>
                <a:lnTo>
                  <a:pt x="4746" y="11267"/>
                </a:lnTo>
                <a:lnTo>
                  <a:pt x="4210" y="10415"/>
                </a:lnTo>
                <a:lnTo>
                  <a:pt x="3967" y="9977"/>
                </a:lnTo>
                <a:lnTo>
                  <a:pt x="3724" y="9539"/>
                </a:lnTo>
                <a:lnTo>
                  <a:pt x="3529" y="9077"/>
                </a:lnTo>
                <a:lnTo>
                  <a:pt x="3359" y="8615"/>
                </a:lnTo>
                <a:lnTo>
                  <a:pt x="3286" y="8396"/>
                </a:lnTo>
                <a:lnTo>
                  <a:pt x="3261" y="8152"/>
                </a:lnTo>
                <a:lnTo>
                  <a:pt x="3237" y="7909"/>
                </a:lnTo>
                <a:lnTo>
                  <a:pt x="3237" y="7666"/>
                </a:lnTo>
                <a:lnTo>
                  <a:pt x="3261" y="7155"/>
                </a:lnTo>
                <a:lnTo>
                  <a:pt x="3310" y="6668"/>
                </a:lnTo>
                <a:lnTo>
                  <a:pt x="3334" y="6376"/>
                </a:lnTo>
                <a:lnTo>
                  <a:pt x="3407" y="6108"/>
                </a:lnTo>
                <a:lnTo>
                  <a:pt x="3480" y="5841"/>
                </a:lnTo>
                <a:lnTo>
                  <a:pt x="3578" y="5597"/>
                </a:lnTo>
                <a:lnTo>
                  <a:pt x="3699" y="5354"/>
                </a:lnTo>
                <a:lnTo>
                  <a:pt x="3845" y="5111"/>
                </a:lnTo>
                <a:lnTo>
                  <a:pt x="4016" y="4892"/>
                </a:lnTo>
                <a:lnTo>
                  <a:pt x="4186" y="4673"/>
                </a:lnTo>
                <a:lnTo>
                  <a:pt x="4648" y="4162"/>
                </a:lnTo>
                <a:lnTo>
                  <a:pt x="5062" y="3748"/>
                </a:lnTo>
                <a:lnTo>
                  <a:pt x="5403" y="3432"/>
                </a:lnTo>
                <a:lnTo>
                  <a:pt x="5743" y="3189"/>
                </a:lnTo>
                <a:lnTo>
                  <a:pt x="6060" y="3018"/>
                </a:lnTo>
                <a:lnTo>
                  <a:pt x="6352" y="2872"/>
                </a:lnTo>
                <a:lnTo>
                  <a:pt x="6668" y="2775"/>
                </a:lnTo>
                <a:lnTo>
                  <a:pt x="6984" y="2702"/>
                </a:lnTo>
                <a:lnTo>
                  <a:pt x="7276" y="2653"/>
                </a:lnTo>
                <a:lnTo>
                  <a:pt x="7568" y="2629"/>
                </a:lnTo>
                <a:lnTo>
                  <a:pt x="7860" y="2605"/>
                </a:lnTo>
                <a:close/>
                <a:moveTo>
                  <a:pt x="6716" y="15525"/>
                </a:moveTo>
                <a:lnTo>
                  <a:pt x="6619" y="15720"/>
                </a:lnTo>
                <a:lnTo>
                  <a:pt x="6352" y="16158"/>
                </a:lnTo>
                <a:lnTo>
                  <a:pt x="6279" y="16109"/>
                </a:lnTo>
                <a:lnTo>
                  <a:pt x="6230" y="16060"/>
                </a:lnTo>
                <a:lnTo>
                  <a:pt x="6206" y="15963"/>
                </a:lnTo>
                <a:lnTo>
                  <a:pt x="6206" y="15866"/>
                </a:lnTo>
                <a:lnTo>
                  <a:pt x="6206" y="15768"/>
                </a:lnTo>
                <a:lnTo>
                  <a:pt x="6230" y="15695"/>
                </a:lnTo>
                <a:lnTo>
                  <a:pt x="6279" y="15598"/>
                </a:lnTo>
                <a:lnTo>
                  <a:pt x="6327" y="15549"/>
                </a:lnTo>
                <a:lnTo>
                  <a:pt x="6595" y="15525"/>
                </a:lnTo>
                <a:close/>
                <a:moveTo>
                  <a:pt x="6887" y="15525"/>
                </a:moveTo>
                <a:lnTo>
                  <a:pt x="7276" y="15549"/>
                </a:lnTo>
                <a:lnTo>
                  <a:pt x="7641" y="15598"/>
                </a:lnTo>
                <a:lnTo>
                  <a:pt x="8225" y="15647"/>
                </a:lnTo>
                <a:lnTo>
                  <a:pt x="8809" y="15671"/>
                </a:lnTo>
                <a:lnTo>
                  <a:pt x="8541" y="15963"/>
                </a:lnTo>
                <a:lnTo>
                  <a:pt x="8298" y="16255"/>
                </a:lnTo>
                <a:lnTo>
                  <a:pt x="7909" y="16231"/>
                </a:lnTo>
                <a:lnTo>
                  <a:pt x="8249" y="15744"/>
                </a:lnTo>
                <a:lnTo>
                  <a:pt x="8249" y="15720"/>
                </a:lnTo>
                <a:lnTo>
                  <a:pt x="8225" y="15695"/>
                </a:lnTo>
                <a:lnTo>
                  <a:pt x="8201" y="15671"/>
                </a:lnTo>
                <a:lnTo>
                  <a:pt x="8176" y="15695"/>
                </a:lnTo>
                <a:lnTo>
                  <a:pt x="7690" y="16231"/>
                </a:lnTo>
                <a:lnTo>
                  <a:pt x="7179" y="16182"/>
                </a:lnTo>
                <a:lnTo>
                  <a:pt x="7325" y="15939"/>
                </a:lnTo>
                <a:lnTo>
                  <a:pt x="7471" y="15671"/>
                </a:lnTo>
                <a:lnTo>
                  <a:pt x="7471" y="15647"/>
                </a:lnTo>
                <a:lnTo>
                  <a:pt x="7446" y="15622"/>
                </a:lnTo>
                <a:lnTo>
                  <a:pt x="7422" y="15647"/>
                </a:lnTo>
                <a:lnTo>
                  <a:pt x="7203" y="15890"/>
                </a:lnTo>
                <a:lnTo>
                  <a:pt x="6935" y="16182"/>
                </a:lnTo>
                <a:lnTo>
                  <a:pt x="6741" y="16206"/>
                </a:lnTo>
                <a:lnTo>
                  <a:pt x="6570" y="16255"/>
                </a:lnTo>
                <a:lnTo>
                  <a:pt x="6668" y="16060"/>
                </a:lnTo>
                <a:lnTo>
                  <a:pt x="6814" y="15817"/>
                </a:lnTo>
                <a:lnTo>
                  <a:pt x="6862" y="15671"/>
                </a:lnTo>
                <a:lnTo>
                  <a:pt x="6887" y="15525"/>
                </a:lnTo>
                <a:close/>
                <a:moveTo>
                  <a:pt x="9661" y="15622"/>
                </a:moveTo>
                <a:lnTo>
                  <a:pt x="9734" y="15671"/>
                </a:lnTo>
                <a:lnTo>
                  <a:pt x="9807" y="15695"/>
                </a:lnTo>
                <a:lnTo>
                  <a:pt x="9953" y="15695"/>
                </a:lnTo>
                <a:lnTo>
                  <a:pt x="9782" y="15793"/>
                </a:lnTo>
                <a:lnTo>
                  <a:pt x="9661" y="15939"/>
                </a:lnTo>
                <a:lnTo>
                  <a:pt x="9539" y="16085"/>
                </a:lnTo>
                <a:lnTo>
                  <a:pt x="9417" y="16279"/>
                </a:lnTo>
                <a:lnTo>
                  <a:pt x="9271" y="16279"/>
                </a:lnTo>
                <a:lnTo>
                  <a:pt x="9612" y="15817"/>
                </a:lnTo>
                <a:lnTo>
                  <a:pt x="9612" y="15793"/>
                </a:lnTo>
                <a:lnTo>
                  <a:pt x="9612" y="15768"/>
                </a:lnTo>
                <a:lnTo>
                  <a:pt x="9563" y="15768"/>
                </a:lnTo>
                <a:lnTo>
                  <a:pt x="9320" y="16012"/>
                </a:lnTo>
                <a:lnTo>
                  <a:pt x="9077" y="16255"/>
                </a:lnTo>
                <a:lnTo>
                  <a:pt x="8517" y="16255"/>
                </a:lnTo>
                <a:lnTo>
                  <a:pt x="8882" y="15720"/>
                </a:lnTo>
                <a:lnTo>
                  <a:pt x="8906" y="15695"/>
                </a:lnTo>
                <a:lnTo>
                  <a:pt x="8882" y="15671"/>
                </a:lnTo>
                <a:lnTo>
                  <a:pt x="9271" y="15671"/>
                </a:lnTo>
                <a:lnTo>
                  <a:pt x="9661" y="15622"/>
                </a:lnTo>
                <a:close/>
                <a:moveTo>
                  <a:pt x="10074" y="15768"/>
                </a:moveTo>
                <a:lnTo>
                  <a:pt x="10074" y="15841"/>
                </a:lnTo>
                <a:lnTo>
                  <a:pt x="10099" y="15939"/>
                </a:lnTo>
                <a:lnTo>
                  <a:pt x="10074" y="16060"/>
                </a:lnTo>
                <a:lnTo>
                  <a:pt x="10050" y="16182"/>
                </a:lnTo>
                <a:lnTo>
                  <a:pt x="9977" y="16304"/>
                </a:lnTo>
                <a:lnTo>
                  <a:pt x="9758" y="16279"/>
                </a:lnTo>
                <a:lnTo>
                  <a:pt x="9880" y="16012"/>
                </a:lnTo>
                <a:lnTo>
                  <a:pt x="9977" y="15890"/>
                </a:lnTo>
                <a:lnTo>
                  <a:pt x="10074" y="15768"/>
                </a:lnTo>
                <a:close/>
                <a:moveTo>
                  <a:pt x="6522" y="16571"/>
                </a:moveTo>
                <a:lnTo>
                  <a:pt x="6595" y="16620"/>
                </a:lnTo>
                <a:lnTo>
                  <a:pt x="6424" y="16888"/>
                </a:lnTo>
                <a:lnTo>
                  <a:pt x="6376" y="17034"/>
                </a:lnTo>
                <a:lnTo>
                  <a:pt x="6327" y="17180"/>
                </a:lnTo>
                <a:lnTo>
                  <a:pt x="6254" y="17082"/>
                </a:lnTo>
                <a:lnTo>
                  <a:pt x="6230" y="16985"/>
                </a:lnTo>
                <a:lnTo>
                  <a:pt x="6206" y="16912"/>
                </a:lnTo>
                <a:lnTo>
                  <a:pt x="6230" y="16815"/>
                </a:lnTo>
                <a:lnTo>
                  <a:pt x="6254" y="16839"/>
                </a:lnTo>
                <a:lnTo>
                  <a:pt x="6303" y="16839"/>
                </a:lnTo>
                <a:lnTo>
                  <a:pt x="6352" y="16815"/>
                </a:lnTo>
                <a:lnTo>
                  <a:pt x="6376" y="16766"/>
                </a:lnTo>
                <a:lnTo>
                  <a:pt x="6424" y="16596"/>
                </a:lnTo>
                <a:lnTo>
                  <a:pt x="6449" y="16596"/>
                </a:lnTo>
                <a:lnTo>
                  <a:pt x="6522" y="16571"/>
                </a:lnTo>
                <a:close/>
                <a:moveTo>
                  <a:pt x="7884" y="16693"/>
                </a:moveTo>
                <a:lnTo>
                  <a:pt x="7957" y="16717"/>
                </a:lnTo>
                <a:lnTo>
                  <a:pt x="7787" y="16985"/>
                </a:lnTo>
                <a:lnTo>
                  <a:pt x="7617" y="17253"/>
                </a:lnTo>
                <a:lnTo>
                  <a:pt x="7592" y="17326"/>
                </a:lnTo>
                <a:lnTo>
                  <a:pt x="7300" y="17326"/>
                </a:lnTo>
                <a:lnTo>
                  <a:pt x="7398" y="17107"/>
                </a:lnTo>
                <a:lnTo>
                  <a:pt x="7519" y="16888"/>
                </a:lnTo>
                <a:lnTo>
                  <a:pt x="7617" y="16717"/>
                </a:lnTo>
                <a:lnTo>
                  <a:pt x="7884" y="16693"/>
                </a:lnTo>
                <a:close/>
                <a:moveTo>
                  <a:pt x="8225" y="16717"/>
                </a:moveTo>
                <a:lnTo>
                  <a:pt x="8736" y="16742"/>
                </a:lnTo>
                <a:lnTo>
                  <a:pt x="8541" y="17034"/>
                </a:lnTo>
                <a:lnTo>
                  <a:pt x="8371" y="17326"/>
                </a:lnTo>
                <a:lnTo>
                  <a:pt x="7909" y="17326"/>
                </a:lnTo>
                <a:lnTo>
                  <a:pt x="7933" y="17277"/>
                </a:lnTo>
                <a:lnTo>
                  <a:pt x="8225" y="16717"/>
                </a:lnTo>
                <a:close/>
                <a:moveTo>
                  <a:pt x="9223" y="16742"/>
                </a:moveTo>
                <a:lnTo>
                  <a:pt x="8979" y="17350"/>
                </a:lnTo>
                <a:lnTo>
                  <a:pt x="8663" y="17350"/>
                </a:lnTo>
                <a:lnTo>
                  <a:pt x="8979" y="16742"/>
                </a:lnTo>
                <a:close/>
                <a:moveTo>
                  <a:pt x="9928" y="16742"/>
                </a:moveTo>
                <a:lnTo>
                  <a:pt x="9661" y="17253"/>
                </a:lnTo>
                <a:lnTo>
                  <a:pt x="9612" y="17350"/>
                </a:lnTo>
                <a:lnTo>
                  <a:pt x="9320" y="17350"/>
                </a:lnTo>
                <a:lnTo>
                  <a:pt x="9563" y="16742"/>
                </a:lnTo>
                <a:close/>
                <a:moveTo>
                  <a:pt x="10147" y="16839"/>
                </a:moveTo>
                <a:lnTo>
                  <a:pt x="10220" y="16961"/>
                </a:lnTo>
                <a:lnTo>
                  <a:pt x="10245" y="17107"/>
                </a:lnTo>
                <a:lnTo>
                  <a:pt x="10220" y="17228"/>
                </a:lnTo>
                <a:lnTo>
                  <a:pt x="10147" y="17350"/>
                </a:lnTo>
                <a:lnTo>
                  <a:pt x="9928" y="17350"/>
                </a:lnTo>
                <a:lnTo>
                  <a:pt x="9953" y="17277"/>
                </a:lnTo>
                <a:lnTo>
                  <a:pt x="10050" y="17082"/>
                </a:lnTo>
                <a:lnTo>
                  <a:pt x="10147" y="16839"/>
                </a:lnTo>
                <a:close/>
                <a:moveTo>
                  <a:pt x="6862" y="16693"/>
                </a:moveTo>
                <a:lnTo>
                  <a:pt x="7081" y="16717"/>
                </a:lnTo>
                <a:lnTo>
                  <a:pt x="7300" y="16717"/>
                </a:lnTo>
                <a:lnTo>
                  <a:pt x="7106" y="17009"/>
                </a:lnTo>
                <a:lnTo>
                  <a:pt x="6935" y="17326"/>
                </a:lnTo>
                <a:lnTo>
                  <a:pt x="6741" y="17350"/>
                </a:lnTo>
                <a:lnTo>
                  <a:pt x="6570" y="17399"/>
                </a:lnTo>
                <a:lnTo>
                  <a:pt x="6619" y="17204"/>
                </a:lnTo>
                <a:lnTo>
                  <a:pt x="6692" y="17034"/>
                </a:lnTo>
                <a:lnTo>
                  <a:pt x="6862" y="16693"/>
                </a:lnTo>
                <a:close/>
                <a:moveTo>
                  <a:pt x="6473" y="17618"/>
                </a:moveTo>
                <a:lnTo>
                  <a:pt x="6643" y="17691"/>
                </a:lnTo>
                <a:lnTo>
                  <a:pt x="6814" y="17715"/>
                </a:lnTo>
                <a:lnTo>
                  <a:pt x="6789" y="17910"/>
                </a:lnTo>
                <a:lnTo>
                  <a:pt x="6765" y="18080"/>
                </a:lnTo>
                <a:lnTo>
                  <a:pt x="6643" y="17983"/>
                </a:lnTo>
                <a:lnTo>
                  <a:pt x="6546" y="17861"/>
                </a:lnTo>
                <a:lnTo>
                  <a:pt x="6352" y="17642"/>
                </a:lnTo>
                <a:lnTo>
                  <a:pt x="6376" y="17618"/>
                </a:lnTo>
                <a:lnTo>
                  <a:pt x="6424" y="17642"/>
                </a:lnTo>
                <a:lnTo>
                  <a:pt x="6473" y="17618"/>
                </a:lnTo>
                <a:close/>
                <a:moveTo>
                  <a:pt x="7398" y="17739"/>
                </a:moveTo>
                <a:lnTo>
                  <a:pt x="7300" y="18031"/>
                </a:lnTo>
                <a:lnTo>
                  <a:pt x="7252" y="18177"/>
                </a:lnTo>
                <a:lnTo>
                  <a:pt x="7252" y="18299"/>
                </a:lnTo>
                <a:lnTo>
                  <a:pt x="7008" y="18202"/>
                </a:lnTo>
                <a:lnTo>
                  <a:pt x="7154" y="17739"/>
                </a:lnTo>
                <a:close/>
                <a:moveTo>
                  <a:pt x="8833" y="17715"/>
                </a:moveTo>
                <a:lnTo>
                  <a:pt x="8785" y="17837"/>
                </a:lnTo>
                <a:lnTo>
                  <a:pt x="8736" y="17983"/>
                </a:lnTo>
                <a:lnTo>
                  <a:pt x="8712" y="18104"/>
                </a:lnTo>
                <a:lnTo>
                  <a:pt x="8736" y="18153"/>
                </a:lnTo>
                <a:lnTo>
                  <a:pt x="8736" y="18202"/>
                </a:lnTo>
                <a:lnTo>
                  <a:pt x="8809" y="18250"/>
                </a:lnTo>
                <a:lnTo>
                  <a:pt x="8882" y="18250"/>
                </a:lnTo>
                <a:lnTo>
                  <a:pt x="8931" y="18226"/>
                </a:lnTo>
                <a:lnTo>
                  <a:pt x="9004" y="18153"/>
                </a:lnTo>
                <a:lnTo>
                  <a:pt x="9125" y="17958"/>
                </a:lnTo>
                <a:lnTo>
                  <a:pt x="9198" y="17739"/>
                </a:lnTo>
                <a:lnTo>
                  <a:pt x="9393" y="17739"/>
                </a:lnTo>
                <a:lnTo>
                  <a:pt x="9369" y="17861"/>
                </a:lnTo>
                <a:lnTo>
                  <a:pt x="9369" y="18007"/>
                </a:lnTo>
                <a:lnTo>
                  <a:pt x="9125" y="18153"/>
                </a:lnTo>
                <a:lnTo>
                  <a:pt x="8833" y="18275"/>
                </a:lnTo>
                <a:lnTo>
                  <a:pt x="8566" y="18372"/>
                </a:lnTo>
                <a:lnTo>
                  <a:pt x="8249" y="18421"/>
                </a:lnTo>
                <a:lnTo>
                  <a:pt x="8274" y="18275"/>
                </a:lnTo>
                <a:lnTo>
                  <a:pt x="8371" y="17983"/>
                </a:lnTo>
                <a:lnTo>
                  <a:pt x="8468" y="17715"/>
                </a:lnTo>
                <a:close/>
                <a:moveTo>
                  <a:pt x="8176" y="17715"/>
                </a:moveTo>
                <a:lnTo>
                  <a:pt x="8030" y="18056"/>
                </a:lnTo>
                <a:lnTo>
                  <a:pt x="7957" y="18250"/>
                </a:lnTo>
                <a:lnTo>
                  <a:pt x="7933" y="18445"/>
                </a:lnTo>
                <a:lnTo>
                  <a:pt x="7738" y="18421"/>
                </a:lnTo>
                <a:lnTo>
                  <a:pt x="7568" y="18396"/>
                </a:lnTo>
                <a:lnTo>
                  <a:pt x="7568" y="18226"/>
                </a:lnTo>
                <a:lnTo>
                  <a:pt x="7641" y="17983"/>
                </a:lnTo>
                <a:lnTo>
                  <a:pt x="7738" y="17715"/>
                </a:lnTo>
                <a:close/>
                <a:moveTo>
                  <a:pt x="8128" y="2094"/>
                </a:moveTo>
                <a:lnTo>
                  <a:pt x="7714" y="2142"/>
                </a:lnTo>
                <a:lnTo>
                  <a:pt x="7325" y="2191"/>
                </a:lnTo>
                <a:lnTo>
                  <a:pt x="6935" y="2264"/>
                </a:lnTo>
                <a:lnTo>
                  <a:pt x="6546" y="2386"/>
                </a:lnTo>
                <a:lnTo>
                  <a:pt x="6181" y="2507"/>
                </a:lnTo>
                <a:lnTo>
                  <a:pt x="5841" y="2653"/>
                </a:lnTo>
                <a:lnTo>
                  <a:pt x="5500" y="2824"/>
                </a:lnTo>
                <a:lnTo>
                  <a:pt x="5184" y="3018"/>
                </a:lnTo>
                <a:lnTo>
                  <a:pt x="4892" y="3237"/>
                </a:lnTo>
                <a:lnTo>
                  <a:pt x="4551" y="3554"/>
                </a:lnTo>
                <a:lnTo>
                  <a:pt x="4210" y="3918"/>
                </a:lnTo>
                <a:lnTo>
                  <a:pt x="3918" y="4332"/>
                </a:lnTo>
                <a:lnTo>
                  <a:pt x="3626" y="4746"/>
                </a:lnTo>
                <a:lnTo>
                  <a:pt x="3383" y="5159"/>
                </a:lnTo>
                <a:lnTo>
                  <a:pt x="3164" y="5549"/>
                </a:lnTo>
                <a:lnTo>
                  <a:pt x="3018" y="5889"/>
                </a:lnTo>
                <a:lnTo>
                  <a:pt x="2921" y="6157"/>
                </a:lnTo>
                <a:lnTo>
                  <a:pt x="2823" y="6595"/>
                </a:lnTo>
                <a:lnTo>
                  <a:pt x="2775" y="7057"/>
                </a:lnTo>
                <a:lnTo>
                  <a:pt x="2750" y="7495"/>
                </a:lnTo>
                <a:lnTo>
                  <a:pt x="2775" y="7958"/>
                </a:lnTo>
                <a:lnTo>
                  <a:pt x="2823" y="8396"/>
                </a:lnTo>
                <a:lnTo>
                  <a:pt x="2921" y="8834"/>
                </a:lnTo>
                <a:lnTo>
                  <a:pt x="3067" y="9272"/>
                </a:lnTo>
                <a:lnTo>
                  <a:pt x="3237" y="9685"/>
                </a:lnTo>
                <a:lnTo>
                  <a:pt x="3602" y="10367"/>
                </a:lnTo>
                <a:lnTo>
                  <a:pt x="3991" y="11024"/>
                </a:lnTo>
                <a:lnTo>
                  <a:pt x="4843" y="12337"/>
                </a:lnTo>
                <a:lnTo>
                  <a:pt x="5281" y="13019"/>
                </a:lnTo>
                <a:lnTo>
                  <a:pt x="5476" y="13384"/>
                </a:lnTo>
                <a:lnTo>
                  <a:pt x="5646" y="13724"/>
                </a:lnTo>
                <a:lnTo>
                  <a:pt x="5792" y="14089"/>
                </a:lnTo>
                <a:lnTo>
                  <a:pt x="5914" y="14454"/>
                </a:lnTo>
                <a:lnTo>
                  <a:pt x="5987" y="14844"/>
                </a:lnTo>
                <a:lnTo>
                  <a:pt x="5987" y="15282"/>
                </a:lnTo>
                <a:lnTo>
                  <a:pt x="5962" y="15379"/>
                </a:lnTo>
                <a:lnTo>
                  <a:pt x="5962" y="15428"/>
                </a:lnTo>
                <a:lnTo>
                  <a:pt x="5889" y="15525"/>
                </a:lnTo>
                <a:lnTo>
                  <a:pt x="5841" y="15647"/>
                </a:lnTo>
                <a:lnTo>
                  <a:pt x="5816" y="15768"/>
                </a:lnTo>
                <a:lnTo>
                  <a:pt x="5792" y="15914"/>
                </a:lnTo>
                <a:lnTo>
                  <a:pt x="5816" y="16036"/>
                </a:lnTo>
                <a:lnTo>
                  <a:pt x="5841" y="16158"/>
                </a:lnTo>
                <a:lnTo>
                  <a:pt x="5889" y="16279"/>
                </a:lnTo>
                <a:lnTo>
                  <a:pt x="5962" y="16377"/>
                </a:lnTo>
                <a:lnTo>
                  <a:pt x="5865" y="16474"/>
                </a:lnTo>
                <a:lnTo>
                  <a:pt x="5792" y="16620"/>
                </a:lnTo>
                <a:lnTo>
                  <a:pt x="5768" y="16766"/>
                </a:lnTo>
                <a:lnTo>
                  <a:pt x="5768" y="16912"/>
                </a:lnTo>
                <a:lnTo>
                  <a:pt x="5768" y="17058"/>
                </a:lnTo>
                <a:lnTo>
                  <a:pt x="5816" y="17204"/>
                </a:lnTo>
                <a:lnTo>
                  <a:pt x="5889" y="17350"/>
                </a:lnTo>
                <a:lnTo>
                  <a:pt x="5987" y="17472"/>
                </a:lnTo>
                <a:lnTo>
                  <a:pt x="5962" y="17496"/>
                </a:lnTo>
                <a:lnTo>
                  <a:pt x="5914" y="17618"/>
                </a:lnTo>
                <a:lnTo>
                  <a:pt x="5914" y="17715"/>
                </a:lnTo>
                <a:lnTo>
                  <a:pt x="5938" y="17837"/>
                </a:lnTo>
                <a:lnTo>
                  <a:pt x="5987" y="17934"/>
                </a:lnTo>
                <a:lnTo>
                  <a:pt x="6133" y="18129"/>
                </a:lnTo>
                <a:lnTo>
                  <a:pt x="6303" y="18299"/>
                </a:lnTo>
                <a:lnTo>
                  <a:pt x="6424" y="18421"/>
                </a:lnTo>
                <a:lnTo>
                  <a:pt x="6570" y="18518"/>
                </a:lnTo>
                <a:lnTo>
                  <a:pt x="6862" y="18688"/>
                </a:lnTo>
                <a:lnTo>
                  <a:pt x="7179" y="18810"/>
                </a:lnTo>
                <a:lnTo>
                  <a:pt x="7495" y="18859"/>
                </a:lnTo>
                <a:lnTo>
                  <a:pt x="7738" y="18883"/>
                </a:lnTo>
                <a:lnTo>
                  <a:pt x="7982" y="18883"/>
                </a:lnTo>
                <a:lnTo>
                  <a:pt x="8030" y="18956"/>
                </a:lnTo>
                <a:lnTo>
                  <a:pt x="8079" y="18980"/>
                </a:lnTo>
                <a:lnTo>
                  <a:pt x="8128" y="18980"/>
                </a:lnTo>
                <a:lnTo>
                  <a:pt x="8176" y="18956"/>
                </a:lnTo>
                <a:lnTo>
                  <a:pt x="8201" y="18907"/>
                </a:lnTo>
                <a:lnTo>
                  <a:pt x="8201" y="18883"/>
                </a:lnTo>
                <a:lnTo>
                  <a:pt x="8493" y="18834"/>
                </a:lnTo>
                <a:lnTo>
                  <a:pt x="8785" y="18761"/>
                </a:lnTo>
                <a:lnTo>
                  <a:pt x="9052" y="18664"/>
                </a:lnTo>
                <a:lnTo>
                  <a:pt x="9320" y="18542"/>
                </a:lnTo>
                <a:lnTo>
                  <a:pt x="9563" y="18396"/>
                </a:lnTo>
                <a:lnTo>
                  <a:pt x="9807" y="18226"/>
                </a:lnTo>
                <a:lnTo>
                  <a:pt x="10050" y="18056"/>
                </a:lnTo>
                <a:lnTo>
                  <a:pt x="10269" y="17837"/>
                </a:lnTo>
                <a:lnTo>
                  <a:pt x="10318" y="17764"/>
                </a:lnTo>
                <a:lnTo>
                  <a:pt x="10342" y="17691"/>
                </a:lnTo>
                <a:lnTo>
                  <a:pt x="10464" y="17593"/>
                </a:lnTo>
                <a:lnTo>
                  <a:pt x="10537" y="17447"/>
                </a:lnTo>
                <a:lnTo>
                  <a:pt x="10585" y="17301"/>
                </a:lnTo>
                <a:lnTo>
                  <a:pt x="10634" y="17107"/>
                </a:lnTo>
                <a:lnTo>
                  <a:pt x="10634" y="16936"/>
                </a:lnTo>
                <a:lnTo>
                  <a:pt x="10585" y="16742"/>
                </a:lnTo>
                <a:lnTo>
                  <a:pt x="10512" y="16596"/>
                </a:lnTo>
                <a:lnTo>
                  <a:pt x="10391" y="16474"/>
                </a:lnTo>
                <a:lnTo>
                  <a:pt x="10488" y="16255"/>
                </a:lnTo>
                <a:lnTo>
                  <a:pt x="10537" y="16036"/>
                </a:lnTo>
                <a:lnTo>
                  <a:pt x="10537" y="15817"/>
                </a:lnTo>
                <a:lnTo>
                  <a:pt x="10488" y="15574"/>
                </a:lnTo>
                <a:lnTo>
                  <a:pt x="10415" y="15476"/>
                </a:lnTo>
                <a:lnTo>
                  <a:pt x="10342" y="15379"/>
                </a:lnTo>
                <a:lnTo>
                  <a:pt x="10342" y="15306"/>
                </a:lnTo>
                <a:lnTo>
                  <a:pt x="10415" y="14965"/>
                </a:lnTo>
                <a:lnTo>
                  <a:pt x="10464" y="14625"/>
                </a:lnTo>
                <a:lnTo>
                  <a:pt x="10512" y="14284"/>
                </a:lnTo>
                <a:lnTo>
                  <a:pt x="10585" y="13943"/>
                </a:lnTo>
                <a:lnTo>
                  <a:pt x="10658" y="13700"/>
                </a:lnTo>
                <a:lnTo>
                  <a:pt x="10756" y="13457"/>
                </a:lnTo>
                <a:lnTo>
                  <a:pt x="10999" y="12994"/>
                </a:lnTo>
                <a:lnTo>
                  <a:pt x="11023" y="12970"/>
                </a:lnTo>
                <a:lnTo>
                  <a:pt x="11023" y="12946"/>
                </a:lnTo>
                <a:lnTo>
                  <a:pt x="11340" y="12459"/>
                </a:lnTo>
                <a:lnTo>
                  <a:pt x="11632" y="11972"/>
                </a:lnTo>
                <a:lnTo>
                  <a:pt x="12191" y="11194"/>
                </a:lnTo>
                <a:lnTo>
                  <a:pt x="12483" y="10780"/>
                </a:lnTo>
                <a:lnTo>
                  <a:pt x="12751" y="10367"/>
                </a:lnTo>
                <a:lnTo>
                  <a:pt x="12994" y="9953"/>
                </a:lnTo>
                <a:lnTo>
                  <a:pt x="13213" y="9515"/>
                </a:lnTo>
                <a:lnTo>
                  <a:pt x="13384" y="9053"/>
                </a:lnTo>
                <a:lnTo>
                  <a:pt x="13457" y="8809"/>
                </a:lnTo>
                <a:lnTo>
                  <a:pt x="13505" y="8590"/>
                </a:lnTo>
                <a:lnTo>
                  <a:pt x="13554" y="8152"/>
                </a:lnTo>
                <a:lnTo>
                  <a:pt x="13554" y="7714"/>
                </a:lnTo>
                <a:lnTo>
                  <a:pt x="13505" y="7276"/>
                </a:lnTo>
                <a:lnTo>
                  <a:pt x="13432" y="6838"/>
                </a:lnTo>
                <a:lnTo>
                  <a:pt x="13335" y="6400"/>
                </a:lnTo>
                <a:lnTo>
                  <a:pt x="13213" y="5962"/>
                </a:lnTo>
                <a:lnTo>
                  <a:pt x="12946" y="5135"/>
                </a:lnTo>
                <a:lnTo>
                  <a:pt x="12800" y="4770"/>
                </a:lnTo>
                <a:lnTo>
                  <a:pt x="12605" y="4429"/>
                </a:lnTo>
                <a:lnTo>
                  <a:pt x="12386" y="4113"/>
                </a:lnTo>
                <a:lnTo>
                  <a:pt x="12143" y="3797"/>
                </a:lnTo>
                <a:lnTo>
                  <a:pt x="12143" y="3773"/>
                </a:lnTo>
                <a:lnTo>
                  <a:pt x="12094" y="3675"/>
                </a:lnTo>
                <a:lnTo>
                  <a:pt x="12021" y="3602"/>
                </a:lnTo>
                <a:lnTo>
                  <a:pt x="11948" y="3554"/>
                </a:lnTo>
                <a:lnTo>
                  <a:pt x="11851" y="3505"/>
                </a:lnTo>
                <a:lnTo>
                  <a:pt x="11607" y="3286"/>
                </a:lnTo>
                <a:lnTo>
                  <a:pt x="11340" y="3091"/>
                </a:lnTo>
                <a:lnTo>
                  <a:pt x="11072" y="2897"/>
                </a:lnTo>
                <a:lnTo>
                  <a:pt x="10804" y="2726"/>
                </a:lnTo>
                <a:lnTo>
                  <a:pt x="10464" y="2556"/>
                </a:lnTo>
                <a:lnTo>
                  <a:pt x="10099" y="2386"/>
                </a:lnTo>
                <a:lnTo>
                  <a:pt x="9709" y="2264"/>
                </a:lnTo>
                <a:lnTo>
                  <a:pt x="9320" y="2191"/>
                </a:lnTo>
                <a:lnTo>
                  <a:pt x="8931" y="2142"/>
                </a:lnTo>
                <a:lnTo>
                  <a:pt x="8517" y="2094"/>
                </a:lnTo>
                <a:close/>
              </a:path>
            </a:pathLst>
          </a:custGeom>
          <a:solidFill>
            <a:srgbClr val="FFC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2" name="Rectangle 51">
            <a:extLst>
              <a:ext uri="{FF2B5EF4-FFF2-40B4-BE49-F238E27FC236}">
                <a16:creationId xmlns:a16="http://schemas.microsoft.com/office/drawing/2014/main" id="{EB399DBE-0F83-8990-96D3-F78BB6ED7AE5}"/>
              </a:ext>
            </a:extLst>
          </p:cNvPr>
          <p:cNvSpPr/>
          <p:nvPr/>
        </p:nvSpPr>
        <p:spPr>
          <a:xfrm>
            <a:off x="7782839" y="3199962"/>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3" name="TextBox 52">
            <a:extLst>
              <a:ext uri="{FF2B5EF4-FFF2-40B4-BE49-F238E27FC236}">
                <a16:creationId xmlns:a16="http://schemas.microsoft.com/office/drawing/2014/main" id="{2F4D9977-F5EB-81C4-D8CB-DD3E20AFBAC8}"/>
              </a:ext>
            </a:extLst>
          </p:cNvPr>
          <p:cNvSpPr txBox="1"/>
          <p:nvPr/>
        </p:nvSpPr>
        <p:spPr bwMode="auto">
          <a:xfrm>
            <a:off x="8304365" y="3716096"/>
            <a:ext cx="1921203" cy="215444"/>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lang="da-DK" sz="1400" dirty="0">
                <a:latin typeface="Quicksand" panose="020B0604020202020204"/>
                <a:ea typeface="Verdana" pitchFamily="34" charset="0"/>
                <a:cs typeface="Verdana" pitchFamily="34" charset="0"/>
              </a:rPr>
              <a:t>Hvad tager jeg med mig?</a:t>
            </a:r>
            <a:endPar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endParaRPr>
          </a:p>
        </p:txBody>
      </p:sp>
      <p:sp>
        <p:nvSpPr>
          <p:cNvPr id="54" name="TextBox 53">
            <a:extLst>
              <a:ext uri="{FF2B5EF4-FFF2-40B4-BE49-F238E27FC236}">
                <a16:creationId xmlns:a16="http://schemas.microsoft.com/office/drawing/2014/main" id="{0CA0BE43-5762-AAD9-DAF7-CC545E857A31}"/>
              </a:ext>
            </a:extLst>
          </p:cNvPr>
          <p:cNvSpPr txBox="1"/>
          <p:nvPr/>
        </p:nvSpPr>
        <p:spPr bwMode="auto">
          <a:xfrm>
            <a:off x="8313773" y="3251467"/>
            <a:ext cx="1469323"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spc="0">
                <a:latin typeface="Quicksand" panose="020B0604020202020204"/>
              </a:rPr>
              <a:t>JA TAK!</a:t>
            </a:r>
          </a:p>
        </p:txBody>
      </p:sp>
      <p:sp>
        <p:nvSpPr>
          <p:cNvPr id="56" name="Shape 302">
            <a:extLst>
              <a:ext uri="{FF2B5EF4-FFF2-40B4-BE49-F238E27FC236}">
                <a16:creationId xmlns:a16="http://schemas.microsoft.com/office/drawing/2014/main" id="{E74CEFDD-6682-C64A-3598-85B650FEADF5}"/>
              </a:ext>
            </a:extLst>
          </p:cNvPr>
          <p:cNvSpPr>
            <a:spLocks noChangeAspect="1"/>
          </p:cNvSpPr>
          <p:nvPr/>
        </p:nvSpPr>
        <p:spPr>
          <a:xfrm>
            <a:off x="7709132" y="3260261"/>
            <a:ext cx="521526" cy="428455"/>
          </a:xfrm>
          <a:custGeom>
            <a:avLst/>
            <a:gdLst/>
            <a:ahLst/>
            <a:cxnLst/>
            <a:rect l="0" t="0" r="0" b="0"/>
            <a:pathLst>
              <a:path w="17228" h="15233" extrusionOk="0">
                <a:moveTo>
                  <a:pt x="3918" y="535"/>
                </a:moveTo>
                <a:lnTo>
                  <a:pt x="4380" y="584"/>
                </a:lnTo>
                <a:lnTo>
                  <a:pt x="4842" y="657"/>
                </a:lnTo>
                <a:lnTo>
                  <a:pt x="5280" y="779"/>
                </a:lnTo>
                <a:lnTo>
                  <a:pt x="5767" y="973"/>
                </a:lnTo>
                <a:lnTo>
                  <a:pt x="6253" y="1192"/>
                </a:lnTo>
                <a:lnTo>
                  <a:pt x="6716" y="1436"/>
                </a:lnTo>
                <a:lnTo>
                  <a:pt x="7154" y="1728"/>
                </a:lnTo>
                <a:lnTo>
                  <a:pt x="7446" y="1898"/>
                </a:lnTo>
                <a:lnTo>
                  <a:pt x="7762" y="2117"/>
                </a:lnTo>
                <a:lnTo>
                  <a:pt x="7908" y="2239"/>
                </a:lnTo>
                <a:lnTo>
                  <a:pt x="8054" y="2385"/>
                </a:lnTo>
                <a:lnTo>
                  <a:pt x="8200" y="2531"/>
                </a:lnTo>
                <a:lnTo>
                  <a:pt x="8297" y="2677"/>
                </a:lnTo>
                <a:lnTo>
                  <a:pt x="8297" y="2774"/>
                </a:lnTo>
                <a:lnTo>
                  <a:pt x="8297" y="2847"/>
                </a:lnTo>
                <a:lnTo>
                  <a:pt x="8346" y="2920"/>
                </a:lnTo>
                <a:lnTo>
                  <a:pt x="8395" y="2993"/>
                </a:lnTo>
                <a:lnTo>
                  <a:pt x="8395" y="3115"/>
                </a:lnTo>
                <a:lnTo>
                  <a:pt x="8419" y="3188"/>
                </a:lnTo>
                <a:lnTo>
                  <a:pt x="8468" y="3212"/>
                </a:lnTo>
                <a:lnTo>
                  <a:pt x="8541" y="3212"/>
                </a:lnTo>
                <a:lnTo>
                  <a:pt x="8589" y="3188"/>
                </a:lnTo>
                <a:lnTo>
                  <a:pt x="8711" y="3066"/>
                </a:lnTo>
                <a:lnTo>
                  <a:pt x="8784" y="2920"/>
                </a:lnTo>
                <a:lnTo>
                  <a:pt x="8833" y="2774"/>
                </a:lnTo>
                <a:lnTo>
                  <a:pt x="8808" y="2628"/>
                </a:lnTo>
                <a:lnTo>
                  <a:pt x="8930" y="2482"/>
                </a:lnTo>
                <a:lnTo>
                  <a:pt x="9076" y="2360"/>
                </a:lnTo>
                <a:lnTo>
                  <a:pt x="9441" y="2093"/>
                </a:lnTo>
                <a:lnTo>
                  <a:pt x="10001" y="1728"/>
                </a:lnTo>
                <a:lnTo>
                  <a:pt x="10439" y="1460"/>
                </a:lnTo>
                <a:lnTo>
                  <a:pt x="10925" y="1192"/>
                </a:lnTo>
                <a:lnTo>
                  <a:pt x="11412" y="949"/>
                </a:lnTo>
                <a:lnTo>
                  <a:pt x="11899" y="754"/>
                </a:lnTo>
                <a:lnTo>
                  <a:pt x="12045" y="681"/>
                </a:lnTo>
                <a:lnTo>
                  <a:pt x="12215" y="657"/>
                </a:lnTo>
                <a:lnTo>
                  <a:pt x="12580" y="608"/>
                </a:lnTo>
                <a:lnTo>
                  <a:pt x="12945" y="633"/>
                </a:lnTo>
                <a:lnTo>
                  <a:pt x="13286" y="633"/>
                </a:lnTo>
                <a:lnTo>
                  <a:pt x="13626" y="657"/>
                </a:lnTo>
                <a:lnTo>
                  <a:pt x="13967" y="730"/>
                </a:lnTo>
                <a:lnTo>
                  <a:pt x="14283" y="803"/>
                </a:lnTo>
                <a:lnTo>
                  <a:pt x="14599" y="925"/>
                </a:lnTo>
                <a:lnTo>
                  <a:pt x="14551" y="998"/>
                </a:lnTo>
                <a:lnTo>
                  <a:pt x="14526" y="1095"/>
                </a:lnTo>
                <a:lnTo>
                  <a:pt x="14551" y="1144"/>
                </a:lnTo>
                <a:lnTo>
                  <a:pt x="14575" y="1192"/>
                </a:lnTo>
                <a:lnTo>
                  <a:pt x="14624" y="1217"/>
                </a:lnTo>
                <a:lnTo>
                  <a:pt x="14672" y="1217"/>
                </a:lnTo>
                <a:lnTo>
                  <a:pt x="14770" y="1168"/>
                </a:lnTo>
                <a:lnTo>
                  <a:pt x="14867" y="1119"/>
                </a:lnTo>
                <a:lnTo>
                  <a:pt x="14964" y="1095"/>
                </a:lnTo>
                <a:lnTo>
                  <a:pt x="15135" y="1192"/>
                </a:lnTo>
                <a:lnTo>
                  <a:pt x="15062" y="1265"/>
                </a:lnTo>
                <a:lnTo>
                  <a:pt x="15013" y="1338"/>
                </a:lnTo>
                <a:lnTo>
                  <a:pt x="15013" y="1436"/>
                </a:lnTo>
                <a:lnTo>
                  <a:pt x="15037" y="1509"/>
                </a:lnTo>
                <a:lnTo>
                  <a:pt x="15110" y="1533"/>
                </a:lnTo>
                <a:lnTo>
                  <a:pt x="15208" y="1533"/>
                </a:lnTo>
                <a:lnTo>
                  <a:pt x="15427" y="1411"/>
                </a:lnTo>
                <a:lnTo>
                  <a:pt x="15573" y="1509"/>
                </a:lnTo>
                <a:lnTo>
                  <a:pt x="15451" y="1679"/>
                </a:lnTo>
                <a:lnTo>
                  <a:pt x="15378" y="1849"/>
                </a:lnTo>
                <a:lnTo>
                  <a:pt x="15378" y="1995"/>
                </a:lnTo>
                <a:lnTo>
                  <a:pt x="15378" y="2044"/>
                </a:lnTo>
                <a:lnTo>
                  <a:pt x="15427" y="2068"/>
                </a:lnTo>
                <a:lnTo>
                  <a:pt x="15524" y="2068"/>
                </a:lnTo>
                <a:lnTo>
                  <a:pt x="15597" y="2020"/>
                </a:lnTo>
                <a:lnTo>
                  <a:pt x="15743" y="1898"/>
                </a:lnTo>
                <a:lnTo>
                  <a:pt x="15840" y="1801"/>
                </a:lnTo>
                <a:lnTo>
                  <a:pt x="15986" y="1971"/>
                </a:lnTo>
                <a:lnTo>
                  <a:pt x="15865" y="2093"/>
                </a:lnTo>
                <a:lnTo>
                  <a:pt x="15767" y="2239"/>
                </a:lnTo>
                <a:lnTo>
                  <a:pt x="15694" y="2385"/>
                </a:lnTo>
                <a:lnTo>
                  <a:pt x="15670" y="2458"/>
                </a:lnTo>
                <a:lnTo>
                  <a:pt x="15670" y="2531"/>
                </a:lnTo>
                <a:lnTo>
                  <a:pt x="15719" y="2506"/>
                </a:lnTo>
                <a:lnTo>
                  <a:pt x="15792" y="2482"/>
                </a:lnTo>
                <a:lnTo>
                  <a:pt x="15889" y="2433"/>
                </a:lnTo>
                <a:lnTo>
                  <a:pt x="15986" y="2360"/>
                </a:lnTo>
                <a:lnTo>
                  <a:pt x="16157" y="2239"/>
                </a:lnTo>
                <a:lnTo>
                  <a:pt x="16327" y="2579"/>
                </a:lnTo>
                <a:lnTo>
                  <a:pt x="16157" y="2701"/>
                </a:lnTo>
                <a:lnTo>
                  <a:pt x="15913" y="2944"/>
                </a:lnTo>
                <a:lnTo>
                  <a:pt x="15792" y="3066"/>
                </a:lnTo>
                <a:lnTo>
                  <a:pt x="15694" y="3212"/>
                </a:lnTo>
                <a:lnTo>
                  <a:pt x="15694" y="3261"/>
                </a:lnTo>
                <a:lnTo>
                  <a:pt x="15694" y="3309"/>
                </a:lnTo>
                <a:lnTo>
                  <a:pt x="15743" y="3334"/>
                </a:lnTo>
                <a:lnTo>
                  <a:pt x="15792" y="3334"/>
                </a:lnTo>
                <a:lnTo>
                  <a:pt x="15938" y="3285"/>
                </a:lnTo>
                <a:lnTo>
                  <a:pt x="16059" y="3212"/>
                </a:lnTo>
                <a:lnTo>
                  <a:pt x="16327" y="3017"/>
                </a:lnTo>
                <a:lnTo>
                  <a:pt x="16449" y="2944"/>
                </a:lnTo>
                <a:lnTo>
                  <a:pt x="16570" y="3431"/>
                </a:lnTo>
                <a:lnTo>
                  <a:pt x="16497" y="3480"/>
                </a:lnTo>
                <a:lnTo>
                  <a:pt x="16400" y="3553"/>
                </a:lnTo>
                <a:lnTo>
                  <a:pt x="16303" y="3650"/>
                </a:lnTo>
                <a:lnTo>
                  <a:pt x="16181" y="3747"/>
                </a:lnTo>
                <a:lnTo>
                  <a:pt x="15962" y="3893"/>
                </a:lnTo>
                <a:lnTo>
                  <a:pt x="15889" y="3991"/>
                </a:lnTo>
                <a:lnTo>
                  <a:pt x="15816" y="4112"/>
                </a:lnTo>
                <a:lnTo>
                  <a:pt x="15792" y="4137"/>
                </a:lnTo>
                <a:lnTo>
                  <a:pt x="15816" y="4185"/>
                </a:lnTo>
                <a:lnTo>
                  <a:pt x="15865" y="4210"/>
                </a:lnTo>
                <a:lnTo>
                  <a:pt x="15889" y="4185"/>
                </a:lnTo>
                <a:lnTo>
                  <a:pt x="16254" y="4064"/>
                </a:lnTo>
                <a:lnTo>
                  <a:pt x="16449" y="3966"/>
                </a:lnTo>
                <a:lnTo>
                  <a:pt x="16643" y="3869"/>
                </a:lnTo>
                <a:lnTo>
                  <a:pt x="16643" y="4039"/>
                </a:lnTo>
                <a:lnTo>
                  <a:pt x="16668" y="4185"/>
                </a:lnTo>
                <a:lnTo>
                  <a:pt x="16546" y="4234"/>
                </a:lnTo>
                <a:lnTo>
                  <a:pt x="16424" y="4283"/>
                </a:lnTo>
                <a:lnTo>
                  <a:pt x="16205" y="4404"/>
                </a:lnTo>
                <a:lnTo>
                  <a:pt x="15962" y="4575"/>
                </a:lnTo>
                <a:lnTo>
                  <a:pt x="15840" y="4672"/>
                </a:lnTo>
                <a:lnTo>
                  <a:pt x="15719" y="4769"/>
                </a:lnTo>
                <a:lnTo>
                  <a:pt x="15719" y="4842"/>
                </a:lnTo>
                <a:lnTo>
                  <a:pt x="15743" y="4867"/>
                </a:lnTo>
                <a:lnTo>
                  <a:pt x="15767" y="4867"/>
                </a:lnTo>
                <a:lnTo>
                  <a:pt x="16059" y="4818"/>
                </a:lnTo>
                <a:lnTo>
                  <a:pt x="16351" y="4721"/>
                </a:lnTo>
                <a:lnTo>
                  <a:pt x="16692" y="4623"/>
                </a:lnTo>
                <a:lnTo>
                  <a:pt x="16668" y="4940"/>
                </a:lnTo>
                <a:lnTo>
                  <a:pt x="16668" y="5256"/>
                </a:lnTo>
                <a:lnTo>
                  <a:pt x="16449" y="5280"/>
                </a:lnTo>
                <a:lnTo>
                  <a:pt x="16230" y="5329"/>
                </a:lnTo>
                <a:lnTo>
                  <a:pt x="16059" y="5378"/>
                </a:lnTo>
                <a:lnTo>
                  <a:pt x="15889" y="5426"/>
                </a:lnTo>
                <a:lnTo>
                  <a:pt x="15548" y="5572"/>
                </a:lnTo>
                <a:lnTo>
                  <a:pt x="15548" y="5597"/>
                </a:lnTo>
                <a:lnTo>
                  <a:pt x="15573" y="5621"/>
                </a:lnTo>
                <a:lnTo>
                  <a:pt x="15816" y="5645"/>
                </a:lnTo>
                <a:lnTo>
                  <a:pt x="16084" y="5670"/>
                </a:lnTo>
                <a:lnTo>
                  <a:pt x="16351" y="5694"/>
                </a:lnTo>
                <a:lnTo>
                  <a:pt x="16619" y="5694"/>
                </a:lnTo>
                <a:lnTo>
                  <a:pt x="16546" y="6010"/>
                </a:lnTo>
                <a:lnTo>
                  <a:pt x="16473" y="6327"/>
                </a:lnTo>
                <a:lnTo>
                  <a:pt x="16351" y="6278"/>
                </a:lnTo>
                <a:lnTo>
                  <a:pt x="16205" y="6229"/>
                </a:lnTo>
                <a:lnTo>
                  <a:pt x="15938" y="6181"/>
                </a:lnTo>
                <a:lnTo>
                  <a:pt x="15670" y="6156"/>
                </a:lnTo>
                <a:lnTo>
                  <a:pt x="15402" y="6156"/>
                </a:lnTo>
                <a:lnTo>
                  <a:pt x="15354" y="6205"/>
                </a:lnTo>
                <a:lnTo>
                  <a:pt x="15354" y="6254"/>
                </a:lnTo>
                <a:lnTo>
                  <a:pt x="15378" y="6327"/>
                </a:lnTo>
                <a:lnTo>
                  <a:pt x="15427" y="6375"/>
                </a:lnTo>
                <a:lnTo>
                  <a:pt x="15500" y="6424"/>
                </a:lnTo>
                <a:lnTo>
                  <a:pt x="15573" y="6472"/>
                </a:lnTo>
                <a:lnTo>
                  <a:pt x="15743" y="6521"/>
                </a:lnTo>
                <a:lnTo>
                  <a:pt x="15889" y="6545"/>
                </a:lnTo>
                <a:lnTo>
                  <a:pt x="16108" y="6618"/>
                </a:lnTo>
                <a:lnTo>
                  <a:pt x="16351" y="6691"/>
                </a:lnTo>
                <a:lnTo>
                  <a:pt x="16376" y="6716"/>
                </a:lnTo>
                <a:lnTo>
                  <a:pt x="16254" y="7032"/>
                </a:lnTo>
                <a:lnTo>
                  <a:pt x="16084" y="7008"/>
                </a:lnTo>
                <a:lnTo>
                  <a:pt x="15889" y="6959"/>
                </a:lnTo>
                <a:lnTo>
                  <a:pt x="15524" y="6862"/>
                </a:lnTo>
                <a:lnTo>
                  <a:pt x="15329" y="6837"/>
                </a:lnTo>
                <a:lnTo>
                  <a:pt x="15159" y="6837"/>
                </a:lnTo>
                <a:lnTo>
                  <a:pt x="14964" y="6862"/>
                </a:lnTo>
                <a:lnTo>
                  <a:pt x="14794" y="6935"/>
                </a:lnTo>
                <a:lnTo>
                  <a:pt x="14770" y="6983"/>
                </a:lnTo>
                <a:lnTo>
                  <a:pt x="14770" y="7008"/>
                </a:lnTo>
                <a:lnTo>
                  <a:pt x="14770" y="7056"/>
                </a:lnTo>
                <a:lnTo>
                  <a:pt x="14818" y="7081"/>
                </a:lnTo>
                <a:lnTo>
                  <a:pt x="15135" y="7178"/>
                </a:lnTo>
                <a:lnTo>
                  <a:pt x="15451" y="7300"/>
                </a:lnTo>
                <a:lnTo>
                  <a:pt x="15767" y="7397"/>
                </a:lnTo>
                <a:lnTo>
                  <a:pt x="16084" y="7470"/>
                </a:lnTo>
                <a:lnTo>
                  <a:pt x="15889" y="7884"/>
                </a:lnTo>
                <a:lnTo>
                  <a:pt x="15719" y="7786"/>
                </a:lnTo>
                <a:lnTo>
                  <a:pt x="15524" y="7738"/>
                </a:lnTo>
                <a:lnTo>
                  <a:pt x="15183" y="7665"/>
                </a:lnTo>
                <a:lnTo>
                  <a:pt x="14940" y="7616"/>
                </a:lnTo>
                <a:lnTo>
                  <a:pt x="14721" y="7567"/>
                </a:lnTo>
                <a:lnTo>
                  <a:pt x="14502" y="7543"/>
                </a:lnTo>
                <a:lnTo>
                  <a:pt x="14259" y="7567"/>
                </a:lnTo>
                <a:lnTo>
                  <a:pt x="14210" y="7592"/>
                </a:lnTo>
                <a:lnTo>
                  <a:pt x="14186" y="7640"/>
                </a:lnTo>
                <a:lnTo>
                  <a:pt x="14186" y="7689"/>
                </a:lnTo>
                <a:lnTo>
                  <a:pt x="14234" y="7713"/>
                </a:lnTo>
                <a:lnTo>
                  <a:pt x="14721" y="7884"/>
                </a:lnTo>
                <a:lnTo>
                  <a:pt x="15183" y="8078"/>
                </a:lnTo>
                <a:lnTo>
                  <a:pt x="15427" y="8151"/>
                </a:lnTo>
                <a:lnTo>
                  <a:pt x="15573" y="8176"/>
                </a:lnTo>
                <a:lnTo>
                  <a:pt x="15694" y="8200"/>
                </a:lnTo>
                <a:lnTo>
                  <a:pt x="15427" y="8638"/>
                </a:lnTo>
                <a:lnTo>
                  <a:pt x="15378" y="8614"/>
                </a:lnTo>
                <a:lnTo>
                  <a:pt x="14818" y="8565"/>
                </a:lnTo>
                <a:lnTo>
                  <a:pt x="14551" y="8516"/>
                </a:lnTo>
                <a:lnTo>
                  <a:pt x="14283" y="8468"/>
                </a:lnTo>
                <a:lnTo>
                  <a:pt x="13821" y="8370"/>
                </a:lnTo>
                <a:lnTo>
                  <a:pt x="13578" y="8322"/>
                </a:lnTo>
                <a:lnTo>
                  <a:pt x="13334" y="8322"/>
                </a:lnTo>
                <a:lnTo>
                  <a:pt x="13310" y="8346"/>
                </a:lnTo>
                <a:lnTo>
                  <a:pt x="13286" y="8370"/>
                </a:lnTo>
                <a:lnTo>
                  <a:pt x="13286" y="8395"/>
                </a:lnTo>
                <a:lnTo>
                  <a:pt x="13310" y="8419"/>
                </a:lnTo>
                <a:lnTo>
                  <a:pt x="13553" y="8541"/>
                </a:lnTo>
                <a:lnTo>
                  <a:pt x="13821" y="8638"/>
                </a:lnTo>
                <a:lnTo>
                  <a:pt x="14332" y="8808"/>
                </a:lnTo>
                <a:lnTo>
                  <a:pt x="14551" y="8857"/>
                </a:lnTo>
                <a:lnTo>
                  <a:pt x="14770" y="8906"/>
                </a:lnTo>
                <a:lnTo>
                  <a:pt x="15013" y="8930"/>
                </a:lnTo>
                <a:lnTo>
                  <a:pt x="15232" y="8930"/>
                </a:lnTo>
                <a:lnTo>
                  <a:pt x="14818" y="9465"/>
                </a:lnTo>
                <a:lnTo>
                  <a:pt x="14648" y="9417"/>
                </a:lnTo>
                <a:lnTo>
                  <a:pt x="14453" y="9368"/>
                </a:lnTo>
                <a:lnTo>
                  <a:pt x="14088" y="9319"/>
                </a:lnTo>
                <a:lnTo>
                  <a:pt x="13797" y="9271"/>
                </a:lnTo>
                <a:lnTo>
                  <a:pt x="13480" y="9198"/>
                </a:lnTo>
                <a:lnTo>
                  <a:pt x="13188" y="9100"/>
                </a:lnTo>
                <a:lnTo>
                  <a:pt x="12921" y="8979"/>
                </a:lnTo>
                <a:lnTo>
                  <a:pt x="12872" y="8979"/>
                </a:lnTo>
                <a:lnTo>
                  <a:pt x="12872" y="9027"/>
                </a:lnTo>
                <a:lnTo>
                  <a:pt x="12945" y="9125"/>
                </a:lnTo>
                <a:lnTo>
                  <a:pt x="13018" y="9222"/>
                </a:lnTo>
                <a:lnTo>
                  <a:pt x="13115" y="9319"/>
                </a:lnTo>
                <a:lnTo>
                  <a:pt x="13213" y="9392"/>
                </a:lnTo>
                <a:lnTo>
                  <a:pt x="13432" y="9490"/>
                </a:lnTo>
                <a:lnTo>
                  <a:pt x="13675" y="9587"/>
                </a:lnTo>
                <a:lnTo>
                  <a:pt x="13991" y="9684"/>
                </a:lnTo>
                <a:lnTo>
                  <a:pt x="14332" y="9733"/>
                </a:lnTo>
                <a:lnTo>
                  <a:pt x="14551" y="9806"/>
                </a:lnTo>
                <a:lnTo>
                  <a:pt x="14186" y="10195"/>
                </a:lnTo>
                <a:lnTo>
                  <a:pt x="14137" y="10098"/>
                </a:lnTo>
                <a:lnTo>
                  <a:pt x="14064" y="10049"/>
                </a:lnTo>
                <a:lnTo>
                  <a:pt x="13651" y="9928"/>
                </a:lnTo>
                <a:lnTo>
                  <a:pt x="13213" y="9782"/>
                </a:lnTo>
                <a:lnTo>
                  <a:pt x="12799" y="9660"/>
                </a:lnTo>
                <a:lnTo>
                  <a:pt x="12580" y="9611"/>
                </a:lnTo>
                <a:lnTo>
                  <a:pt x="12337" y="9611"/>
                </a:lnTo>
                <a:lnTo>
                  <a:pt x="12337" y="9636"/>
                </a:lnTo>
                <a:lnTo>
                  <a:pt x="12337" y="9660"/>
                </a:lnTo>
                <a:lnTo>
                  <a:pt x="12702" y="9903"/>
                </a:lnTo>
                <a:lnTo>
                  <a:pt x="13115" y="10122"/>
                </a:lnTo>
                <a:lnTo>
                  <a:pt x="13529" y="10293"/>
                </a:lnTo>
                <a:lnTo>
                  <a:pt x="13967" y="10439"/>
                </a:lnTo>
                <a:lnTo>
                  <a:pt x="13505" y="10877"/>
                </a:lnTo>
                <a:lnTo>
                  <a:pt x="13286" y="10804"/>
                </a:lnTo>
                <a:lnTo>
                  <a:pt x="13042" y="10731"/>
                </a:lnTo>
                <a:lnTo>
                  <a:pt x="12799" y="10658"/>
                </a:lnTo>
                <a:lnTo>
                  <a:pt x="12580" y="10585"/>
                </a:lnTo>
                <a:lnTo>
                  <a:pt x="12045" y="10341"/>
                </a:lnTo>
                <a:lnTo>
                  <a:pt x="11777" y="10244"/>
                </a:lnTo>
                <a:lnTo>
                  <a:pt x="11631" y="10220"/>
                </a:lnTo>
                <a:lnTo>
                  <a:pt x="11485" y="10195"/>
                </a:lnTo>
                <a:lnTo>
                  <a:pt x="11436" y="10220"/>
                </a:lnTo>
                <a:lnTo>
                  <a:pt x="11436" y="10244"/>
                </a:lnTo>
                <a:lnTo>
                  <a:pt x="11412" y="10268"/>
                </a:lnTo>
                <a:lnTo>
                  <a:pt x="11436" y="10317"/>
                </a:lnTo>
                <a:lnTo>
                  <a:pt x="11680" y="10512"/>
                </a:lnTo>
                <a:lnTo>
                  <a:pt x="11972" y="10706"/>
                </a:lnTo>
                <a:lnTo>
                  <a:pt x="12264" y="10852"/>
                </a:lnTo>
                <a:lnTo>
                  <a:pt x="12556" y="10998"/>
                </a:lnTo>
                <a:lnTo>
                  <a:pt x="12848" y="11120"/>
                </a:lnTo>
                <a:lnTo>
                  <a:pt x="12994" y="11169"/>
                </a:lnTo>
                <a:lnTo>
                  <a:pt x="13164" y="11193"/>
                </a:lnTo>
                <a:lnTo>
                  <a:pt x="12799" y="11509"/>
                </a:lnTo>
                <a:lnTo>
                  <a:pt x="12702" y="11461"/>
                </a:lnTo>
                <a:lnTo>
                  <a:pt x="12580" y="11412"/>
                </a:lnTo>
                <a:lnTo>
                  <a:pt x="12337" y="11363"/>
                </a:lnTo>
                <a:lnTo>
                  <a:pt x="12069" y="11315"/>
                </a:lnTo>
                <a:lnTo>
                  <a:pt x="11826" y="11266"/>
                </a:lnTo>
                <a:lnTo>
                  <a:pt x="11315" y="11071"/>
                </a:lnTo>
                <a:lnTo>
                  <a:pt x="11047" y="10998"/>
                </a:lnTo>
                <a:lnTo>
                  <a:pt x="10901" y="10974"/>
                </a:lnTo>
                <a:lnTo>
                  <a:pt x="10755" y="10974"/>
                </a:lnTo>
                <a:lnTo>
                  <a:pt x="10706" y="10998"/>
                </a:lnTo>
                <a:lnTo>
                  <a:pt x="10682" y="11023"/>
                </a:lnTo>
                <a:lnTo>
                  <a:pt x="10682" y="11071"/>
                </a:lnTo>
                <a:lnTo>
                  <a:pt x="10706" y="11096"/>
                </a:lnTo>
                <a:lnTo>
                  <a:pt x="10828" y="11217"/>
                </a:lnTo>
                <a:lnTo>
                  <a:pt x="10998" y="11339"/>
                </a:lnTo>
                <a:lnTo>
                  <a:pt x="11217" y="11461"/>
                </a:lnTo>
                <a:lnTo>
                  <a:pt x="11436" y="11582"/>
                </a:lnTo>
                <a:lnTo>
                  <a:pt x="11655" y="11704"/>
                </a:lnTo>
                <a:lnTo>
                  <a:pt x="11899" y="11777"/>
                </a:lnTo>
                <a:lnTo>
                  <a:pt x="12142" y="11826"/>
                </a:lnTo>
                <a:lnTo>
                  <a:pt x="12385" y="11874"/>
                </a:lnTo>
                <a:lnTo>
                  <a:pt x="12045" y="12142"/>
                </a:lnTo>
                <a:lnTo>
                  <a:pt x="11874" y="12093"/>
                </a:lnTo>
                <a:lnTo>
                  <a:pt x="11704" y="12045"/>
                </a:lnTo>
                <a:lnTo>
                  <a:pt x="11412" y="11996"/>
                </a:lnTo>
                <a:lnTo>
                  <a:pt x="11242" y="11947"/>
                </a:lnTo>
                <a:lnTo>
                  <a:pt x="11071" y="11850"/>
                </a:lnTo>
                <a:lnTo>
                  <a:pt x="10682" y="11680"/>
                </a:lnTo>
                <a:lnTo>
                  <a:pt x="10487" y="11582"/>
                </a:lnTo>
                <a:lnTo>
                  <a:pt x="10293" y="11534"/>
                </a:lnTo>
                <a:lnTo>
                  <a:pt x="10098" y="11509"/>
                </a:lnTo>
                <a:lnTo>
                  <a:pt x="9903" y="11534"/>
                </a:lnTo>
                <a:lnTo>
                  <a:pt x="9879" y="11534"/>
                </a:lnTo>
                <a:lnTo>
                  <a:pt x="9879" y="11558"/>
                </a:lnTo>
                <a:lnTo>
                  <a:pt x="9879" y="11631"/>
                </a:lnTo>
                <a:lnTo>
                  <a:pt x="9976" y="11728"/>
                </a:lnTo>
                <a:lnTo>
                  <a:pt x="10098" y="11826"/>
                </a:lnTo>
                <a:lnTo>
                  <a:pt x="10366" y="11972"/>
                </a:lnTo>
                <a:lnTo>
                  <a:pt x="10925" y="12215"/>
                </a:lnTo>
                <a:lnTo>
                  <a:pt x="11266" y="12361"/>
                </a:lnTo>
                <a:lnTo>
                  <a:pt x="11607" y="12483"/>
                </a:lnTo>
                <a:lnTo>
                  <a:pt x="11169" y="12799"/>
                </a:lnTo>
                <a:lnTo>
                  <a:pt x="10925" y="12726"/>
                </a:lnTo>
                <a:lnTo>
                  <a:pt x="10585" y="12604"/>
                </a:lnTo>
                <a:lnTo>
                  <a:pt x="10244" y="12458"/>
                </a:lnTo>
                <a:lnTo>
                  <a:pt x="9782" y="12239"/>
                </a:lnTo>
                <a:lnTo>
                  <a:pt x="9538" y="12142"/>
                </a:lnTo>
                <a:lnTo>
                  <a:pt x="9417" y="12118"/>
                </a:lnTo>
                <a:lnTo>
                  <a:pt x="9295" y="12118"/>
                </a:lnTo>
                <a:lnTo>
                  <a:pt x="9271" y="12142"/>
                </a:lnTo>
                <a:lnTo>
                  <a:pt x="9271" y="12191"/>
                </a:lnTo>
                <a:lnTo>
                  <a:pt x="9344" y="12312"/>
                </a:lnTo>
                <a:lnTo>
                  <a:pt x="9441" y="12410"/>
                </a:lnTo>
                <a:lnTo>
                  <a:pt x="9563" y="12507"/>
                </a:lnTo>
                <a:lnTo>
                  <a:pt x="9684" y="12604"/>
                </a:lnTo>
                <a:lnTo>
                  <a:pt x="9976" y="12750"/>
                </a:lnTo>
                <a:lnTo>
                  <a:pt x="10244" y="12896"/>
                </a:lnTo>
                <a:lnTo>
                  <a:pt x="10463" y="12994"/>
                </a:lnTo>
                <a:lnTo>
                  <a:pt x="10731" y="13115"/>
                </a:lnTo>
                <a:lnTo>
                  <a:pt x="10220" y="13456"/>
                </a:lnTo>
                <a:lnTo>
                  <a:pt x="10220" y="13359"/>
                </a:lnTo>
                <a:lnTo>
                  <a:pt x="10195" y="13334"/>
                </a:lnTo>
                <a:lnTo>
                  <a:pt x="10147" y="13286"/>
                </a:lnTo>
                <a:lnTo>
                  <a:pt x="9976" y="13188"/>
                </a:lnTo>
                <a:lnTo>
                  <a:pt x="9782" y="13091"/>
                </a:lnTo>
                <a:lnTo>
                  <a:pt x="9417" y="12921"/>
                </a:lnTo>
                <a:lnTo>
                  <a:pt x="9222" y="12848"/>
                </a:lnTo>
                <a:lnTo>
                  <a:pt x="9052" y="12775"/>
                </a:lnTo>
                <a:lnTo>
                  <a:pt x="8857" y="12726"/>
                </a:lnTo>
                <a:lnTo>
                  <a:pt x="8662" y="12726"/>
                </a:lnTo>
                <a:lnTo>
                  <a:pt x="8638" y="12750"/>
                </a:lnTo>
                <a:lnTo>
                  <a:pt x="8638" y="12775"/>
                </a:lnTo>
                <a:lnTo>
                  <a:pt x="8979" y="13018"/>
                </a:lnTo>
                <a:lnTo>
                  <a:pt x="9319" y="13261"/>
                </a:lnTo>
                <a:lnTo>
                  <a:pt x="9490" y="13383"/>
                </a:lnTo>
                <a:lnTo>
                  <a:pt x="9660" y="13480"/>
                </a:lnTo>
                <a:lnTo>
                  <a:pt x="9855" y="13553"/>
                </a:lnTo>
                <a:lnTo>
                  <a:pt x="10049" y="13602"/>
                </a:lnTo>
                <a:lnTo>
                  <a:pt x="9538" y="13943"/>
                </a:lnTo>
                <a:lnTo>
                  <a:pt x="9538" y="13918"/>
                </a:lnTo>
                <a:lnTo>
                  <a:pt x="9465" y="13870"/>
                </a:lnTo>
                <a:lnTo>
                  <a:pt x="9368" y="13821"/>
                </a:lnTo>
                <a:lnTo>
                  <a:pt x="9222" y="13724"/>
                </a:lnTo>
                <a:lnTo>
                  <a:pt x="8808" y="13407"/>
                </a:lnTo>
                <a:lnTo>
                  <a:pt x="8662" y="13286"/>
                </a:lnTo>
                <a:lnTo>
                  <a:pt x="8492" y="13140"/>
                </a:lnTo>
                <a:lnTo>
                  <a:pt x="8297" y="13042"/>
                </a:lnTo>
                <a:lnTo>
                  <a:pt x="8200" y="12994"/>
                </a:lnTo>
                <a:lnTo>
                  <a:pt x="8054" y="12994"/>
                </a:lnTo>
                <a:lnTo>
                  <a:pt x="8030" y="13018"/>
                </a:lnTo>
                <a:lnTo>
                  <a:pt x="7957" y="13091"/>
                </a:lnTo>
                <a:lnTo>
                  <a:pt x="7957" y="13164"/>
                </a:lnTo>
                <a:lnTo>
                  <a:pt x="7981" y="13213"/>
                </a:lnTo>
                <a:lnTo>
                  <a:pt x="8005" y="13261"/>
                </a:lnTo>
                <a:lnTo>
                  <a:pt x="8297" y="13529"/>
                </a:lnTo>
                <a:lnTo>
                  <a:pt x="8614" y="13772"/>
                </a:lnTo>
                <a:lnTo>
                  <a:pt x="8881" y="13991"/>
                </a:lnTo>
                <a:lnTo>
                  <a:pt x="9027" y="14113"/>
                </a:lnTo>
                <a:lnTo>
                  <a:pt x="9173" y="14210"/>
                </a:lnTo>
                <a:lnTo>
                  <a:pt x="8784" y="14478"/>
                </a:lnTo>
                <a:lnTo>
                  <a:pt x="8711" y="14502"/>
                </a:lnTo>
                <a:lnTo>
                  <a:pt x="8565" y="14381"/>
                </a:lnTo>
                <a:lnTo>
                  <a:pt x="8419" y="14259"/>
                </a:lnTo>
                <a:lnTo>
                  <a:pt x="8103" y="14040"/>
                </a:lnTo>
                <a:lnTo>
                  <a:pt x="7713" y="13797"/>
                </a:lnTo>
                <a:lnTo>
                  <a:pt x="7348" y="13578"/>
                </a:lnTo>
                <a:lnTo>
                  <a:pt x="6570" y="13115"/>
                </a:lnTo>
                <a:lnTo>
                  <a:pt x="6180" y="12872"/>
                </a:lnTo>
                <a:lnTo>
                  <a:pt x="5767" y="12604"/>
                </a:lnTo>
                <a:lnTo>
                  <a:pt x="5402" y="12312"/>
                </a:lnTo>
                <a:lnTo>
                  <a:pt x="5037" y="11996"/>
                </a:lnTo>
                <a:lnTo>
                  <a:pt x="4623" y="11680"/>
                </a:lnTo>
                <a:lnTo>
                  <a:pt x="4210" y="11363"/>
                </a:lnTo>
                <a:lnTo>
                  <a:pt x="3820" y="11023"/>
                </a:lnTo>
                <a:lnTo>
                  <a:pt x="3626" y="10852"/>
                </a:lnTo>
                <a:lnTo>
                  <a:pt x="3455" y="10658"/>
                </a:lnTo>
                <a:lnTo>
                  <a:pt x="2847" y="9952"/>
                </a:lnTo>
                <a:lnTo>
                  <a:pt x="2263" y="9222"/>
                </a:lnTo>
                <a:lnTo>
                  <a:pt x="1971" y="8857"/>
                </a:lnTo>
                <a:lnTo>
                  <a:pt x="1728" y="8468"/>
                </a:lnTo>
                <a:lnTo>
                  <a:pt x="1484" y="8054"/>
                </a:lnTo>
                <a:lnTo>
                  <a:pt x="1265" y="7640"/>
                </a:lnTo>
                <a:lnTo>
                  <a:pt x="1095" y="7227"/>
                </a:lnTo>
                <a:lnTo>
                  <a:pt x="949" y="6789"/>
                </a:lnTo>
                <a:lnTo>
                  <a:pt x="827" y="6351"/>
                </a:lnTo>
                <a:lnTo>
                  <a:pt x="730" y="5889"/>
                </a:lnTo>
                <a:lnTo>
                  <a:pt x="657" y="5451"/>
                </a:lnTo>
                <a:lnTo>
                  <a:pt x="633" y="4988"/>
                </a:lnTo>
                <a:lnTo>
                  <a:pt x="608" y="4526"/>
                </a:lnTo>
                <a:lnTo>
                  <a:pt x="608" y="4064"/>
                </a:lnTo>
                <a:lnTo>
                  <a:pt x="608" y="3674"/>
                </a:lnTo>
                <a:lnTo>
                  <a:pt x="657" y="3261"/>
                </a:lnTo>
                <a:lnTo>
                  <a:pt x="706" y="2871"/>
                </a:lnTo>
                <a:lnTo>
                  <a:pt x="827" y="2482"/>
                </a:lnTo>
                <a:lnTo>
                  <a:pt x="973" y="2117"/>
                </a:lnTo>
                <a:lnTo>
                  <a:pt x="1046" y="1947"/>
                </a:lnTo>
                <a:lnTo>
                  <a:pt x="1168" y="1776"/>
                </a:lnTo>
                <a:lnTo>
                  <a:pt x="1265" y="1630"/>
                </a:lnTo>
                <a:lnTo>
                  <a:pt x="1411" y="1460"/>
                </a:lnTo>
                <a:lnTo>
                  <a:pt x="1557" y="1338"/>
                </a:lnTo>
                <a:lnTo>
                  <a:pt x="1728" y="1192"/>
                </a:lnTo>
                <a:lnTo>
                  <a:pt x="1922" y="1071"/>
                </a:lnTo>
                <a:lnTo>
                  <a:pt x="2117" y="949"/>
                </a:lnTo>
                <a:lnTo>
                  <a:pt x="2336" y="852"/>
                </a:lnTo>
                <a:lnTo>
                  <a:pt x="2531" y="779"/>
                </a:lnTo>
                <a:lnTo>
                  <a:pt x="2774" y="706"/>
                </a:lnTo>
                <a:lnTo>
                  <a:pt x="2993" y="633"/>
                </a:lnTo>
                <a:lnTo>
                  <a:pt x="3455" y="560"/>
                </a:lnTo>
                <a:lnTo>
                  <a:pt x="3918" y="535"/>
                </a:lnTo>
                <a:close/>
                <a:moveTo>
                  <a:pt x="3358" y="0"/>
                </a:moveTo>
                <a:lnTo>
                  <a:pt x="2969" y="73"/>
                </a:lnTo>
                <a:lnTo>
                  <a:pt x="2579" y="146"/>
                </a:lnTo>
                <a:lnTo>
                  <a:pt x="2239" y="268"/>
                </a:lnTo>
                <a:lnTo>
                  <a:pt x="1874" y="414"/>
                </a:lnTo>
                <a:lnTo>
                  <a:pt x="1557" y="608"/>
                </a:lnTo>
                <a:lnTo>
                  <a:pt x="1241" y="827"/>
                </a:lnTo>
                <a:lnTo>
                  <a:pt x="949" y="1095"/>
                </a:lnTo>
                <a:lnTo>
                  <a:pt x="706" y="1387"/>
                </a:lnTo>
                <a:lnTo>
                  <a:pt x="487" y="1728"/>
                </a:lnTo>
                <a:lnTo>
                  <a:pt x="316" y="2093"/>
                </a:lnTo>
                <a:lnTo>
                  <a:pt x="195" y="2482"/>
                </a:lnTo>
                <a:lnTo>
                  <a:pt x="97" y="2896"/>
                </a:lnTo>
                <a:lnTo>
                  <a:pt x="49" y="3309"/>
                </a:lnTo>
                <a:lnTo>
                  <a:pt x="0" y="3747"/>
                </a:lnTo>
                <a:lnTo>
                  <a:pt x="0" y="4161"/>
                </a:lnTo>
                <a:lnTo>
                  <a:pt x="24" y="4988"/>
                </a:lnTo>
                <a:lnTo>
                  <a:pt x="73" y="5451"/>
                </a:lnTo>
                <a:lnTo>
                  <a:pt x="146" y="5913"/>
                </a:lnTo>
                <a:lnTo>
                  <a:pt x="219" y="6351"/>
                </a:lnTo>
                <a:lnTo>
                  <a:pt x="341" y="6789"/>
                </a:lnTo>
                <a:lnTo>
                  <a:pt x="487" y="7227"/>
                </a:lnTo>
                <a:lnTo>
                  <a:pt x="633" y="7665"/>
                </a:lnTo>
                <a:lnTo>
                  <a:pt x="827" y="8078"/>
                </a:lnTo>
                <a:lnTo>
                  <a:pt x="1046" y="8492"/>
                </a:lnTo>
                <a:lnTo>
                  <a:pt x="1265" y="8881"/>
                </a:lnTo>
                <a:lnTo>
                  <a:pt x="1533" y="9246"/>
                </a:lnTo>
                <a:lnTo>
                  <a:pt x="1801" y="9587"/>
                </a:lnTo>
                <a:lnTo>
                  <a:pt x="2093" y="9928"/>
                </a:lnTo>
                <a:lnTo>
                  <a:pt x="2458" y="10341"/>
                </a:lnTo>
                <a:lnTo>
                  <a:pt x="2798" y="10779"/>
                </a:lnTo>
                <a:lnTo>
                  <a:pt x="3139" y="11169"/>
                </a:lnTo>
                <a:lnTo>
                  <a:pt x="3334" y="11363"/>
                </a:lnTo>
                <a:lnTo>
                  <a:pt x="3553" y="11558"/>
                </a:lnTo>
                <a:lnTo>
                  <a:pt x="4331" y="12215"/>
                </a:lnTo>
                <a:lnTo>
                  <a:pt x="5134" y="12823"/>
                </a:lnTo>
                <a:lnTo>
                  <a:pt x="5961" y="13432"/>
                </a:lnTo>
                <a:lnTo>
                  <a:pt x="6399" y="13724"/>
                </a:lnTo>
                <a:lnTo>
                  <a:pt x="6837" y="13991"/>
                </a:lnTo>
                <a:lnTo>
                  <a:pt x="7275" y="14235"/>
                </a:lnTo>
                <a:lnTo>
                  <a:pt x="7689" y="14502"/>
                </a:lnTo>
                <a:lnTo>
                  <a:pt x="7981" y="14672"/>
                </a:lnTo>
                <a:lnTo>
                  <a:pt x="8127" y="14770"/>
                </a:lnTo>
                <a:lnTo>
                  <a:pt x="8249" y="14891"/>
                </a:lnTo>
                <a:lnTo>
                  <a:pt x="8249" y="14964"/>
                </a:lnTo>
                <a:lnTo>
                  <a:pt x="8249" y="15062"/>
                </a:lnTo>
                <a:lnTo>
                  <a:pt x="8297" y="15110"/>
                </a:lnTo>
                <a:lnTo>
                  <a:pt x="8370" y="15183"/>
                </a:lnTo>
                <a:lnTo>
                  <a:pt x="8443" y="15208"/>
                </a:lnTo>
                <a:lnTo>
                  <a:pt x="8516" y="15232"/>
                </a:lnTo>
                <a:lnTo>
                  <a:pt x="8614" y="15232"/>
                </a:lnTo>
                <a:lnTo>
                  <a:pt x="8711" y="15183"/>
                </a:lnTo>
                <a:lnTo>
                  <a:pt x="8735" y="15159"/>
                </a:lnTo>
                <a:lnTo>
                  <a:pt x="8784" y="15110"/>
                </a:lnTo>
                <a:lnTo>
                  <a:pt x="9490" y="14599"/>
                </a:lnTo>
                <a:lnTo>
                  <a:pt x="10220" y="14113"/>
                </a:lnTo>
                <a:lnTo>
                  <a:pt x="10925" y="13602"/>
                </a:lnTo>
                <a:lnTo>
                  <a:pt x="11631" y="13115"/>
                </a:lnTo>
                <a:lnTo>
                  <a:pt x="12312" y="12604"/>
                </a:lnTo>
                <a:lnTo>
                  <a:pt x="12969" y="12069"/>
                </a:lnTo>
                <a:lnTo>
                  <a:pt x="13578" y="11509"/>
                </a:lnTo>
                <a:lnTo>
                  <a:pt x="14186" y="10925"/>
                </a:lnTo>
                <a:lnTo>
                  <a:pt x="14745" y="10341"/>
                </a:lnTo>
                <a:lnTo>
                  <a:pt x="15256" y="9733"/>
                </a:lnTo>
                <a:lnTo>
                  <a:pt x="15743" y="9076"/>
                </a:lnTo>
                <a:lnTo>
                  <a:pt x="15962" y="8735"/>
                </a:lnTo>
                <a:lnTo>
                  <a:pt x="16157" y="8395"/>
                </a:lnTo>
                <a:lnTo>
                  <a:pt x="16351" y="8054"/>
                </a:lnTo>
                <a:lnTo>
                  <a:pt x="16522" y="7689"/>
                </a:lnTo>
                <a:lnTo>
                  <a:pt x="16668" y="7324"/>
                </a:lnTo>
                <a:lnTo>
                  <a:pt x="16814" y="6959"/>
                </a:lnTo>
                <a:lnTo>
                  <a:pt x="16935" y="6570"/>
                </a:lnTo>
                <a:lnTo>
                  <a:pt x="17033" y="6181"/>
                </a:lnTo>
                <a:lnTo>
                  <a:pt x="17106" y="5791"/>
                </a:lnTo>
                <a:lnTo>
                  <a:pt x="17179" y="5378"/>
                </a:lnTo>
                <a:lnTo>
                  <a:pt x="17203" y="5013"/>
                </a:lnTo>
                <a:lnTo>
                  <a:pt x="17227" y="4623"/>
                </a:lnTo>
                <a:lnTo>
                  <a:pt x="17227" y="4210"/>
                </a:lnTo>
                <a:lnTo>
                  <a:pt x="17203" y="3820"/>
                </a:lnTo>
                <a:lnTo>
                  <a:pt x="17130" y="3407"/>
                </a:lnTo>
                <a:lnTo>
                  <a:pt x="17057" y="3017"/>
                </a:lnTo>
                <a:lnTo>
                  <a:pt x="16960" y="2652"/>
                </a:lnTo>
                <a:lnTo>
                  <a:pt x="16814" y="2287"/>
                </a:lnTo>
                <a:lnTo>
                  <a:pt x="16643" y="1947"/>
                </a:lnTo>
                <a:lnTo>
                  <a:pt x="16449" y="1655"/>
                </a:lnTo>
                <a:lnTo>
                  <a:pt x="16205" y="1363"/>
                </a:lnTo>
                <a:lnTo>
                  <a:pt x="15938" y="1119"/>
                </a:lnTo>
                <a:lnTo>
                  <a:pt x="15646" y="876"/>
                </a:lnTo>
                <a:lnTo>
                  <a:pt x="15329" y="681"/>
                </a:lnTo>
                <a:lnTo>
                  <a:pt x="14989" y="511"/>
                </a:lnTo>
                <a:lnTo>
                  <a:pt x="14648" y="365"/>
                </a:lnTo>
                <a:lnTo>
                  <a:pt x="14332" y="243"/>
                </a:lnTo>
                <a:lnTo>
                  <a:pt x="13967" y="170"/>
                </a:lnTo>
                <a:lnTo>
                  <a:pt x="13578" y="97"/>
                </a:lnTo>
                <a:lnTo>
                  <a:pt x="13188" y="73"/>
                </a:lnTo>
                <a:lnTo>
                  <a:pt x="12799" y="49"/>
                </a:lnTo>
                <a:lnTo>
                  <a:pt x="12410" y="73"/>
                </a:lnTo>
                <a:lnTo>
                  <a:pt x="12045" y="146"/>
                </a:lnTo>
                <a:lnTo>
                  <a:pt x="11704" y="243"/>
                </a:lnTo>
                <a:lnTo>
                  <a:pt x="11217" y="462"/>
                </a:lnTo>
                <a:lnTo>
                  <a:pt x="10731" y="706"/>
                </a:lnTo>
                <a:lnTo>
                  <a:pt x="10268" y="949"/>
                </a:lnTo>
                <a:lnTo>
                  <a:pt x="9806" y="1241"/>
                </a:lnTo>
                <a:lnTo>
                  <a:pt x="9611" y="1363"/>
                </a:lnTo>
                <a:lnTo>
                  <a:pt x="9271" y="1582"/>
                </a:lnTo>
                <a:lnTo>
                  <a:pt x="8906" y="1874"/>
                </a:lnTo>
                <a:lnTo>
                  <a:pt x="8735" y="2044"/>
                </a:lnTo>
                <a:lnTo>
                  <a:pt x="8589" y="2190"/>
                </a:lnTo>
                <a:lnTo>
                  <a:pt x="8468" y="2044"/>
                </a:lnTo>
                <a:lnTo>
                  <a:pt x="8322" y="1922"/>
                </a:lnTo>
                <a:lnTo>
                  <a:pt x="7981" y="1630"/>
                </a:lnTo>
                <a:lnTo>
                  <a:pt x="7592" y="1363"/>
                </a:lnTo>
                <a:lnTo>
                  <a:pt x="7202" y="1119"/>
                </a:lnTo>
                <a:lnTo>
                  <a:pt x="6813" y="900"/>
                </a:lnTo>
                <a:lnTo>
                  <a:pt x="6472" y="706"/>
                </a:lnTo>
                <a:lnTo>
                  <a:pt x="5986" y="487"/>
                </a:lnTo>
                <a:lnTo>
                  <a:pt x="5645" y="341"/>
                </a:lnTo>
                <a:lnTo>
                  <a:pt x="5280" y="219"/>
                </a:lnTo>
                <a:lnTo>
                  <a:pt x="4915" y="122"/>
                </a:lnTo>
                <a:lnTo>
                  <a:pt x="4526" y="49"/>
                </a:lnTo>
                <a:lnTo>
                  <a:pt x="4137" y="0"/>
                </a:lnTo>
                <a:close/>
              </a:path>
            </a:pathLst>
          </a:custGeom>
          <a:solidFill>
            <a:srgbClr val="C00000"/>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57" name="Rectangle 56">
            <a:extLst>
              <a:ext uri="{FF2B5EF4-FFF2-40B4-BE49-F238E27FC236}">
                <a16:creationId xmlns:a16="http://schemas.microsoft.com/office/drawing/2014/main" id="{6D84226D-9F49-06EF-03D2-1C81CCC77A67}"/>
              </a:ext>
            </a:extLst>
          </p:cNvPr>
          <p:cNvSpPr/>
          <p:nvPr/>
        </p:nvSpPr>
        <p:spPr>
          <a:xfrm>
            <a:off x="588438" y="3234226"/>
            <a:ext cx="2076980" cy="572351"/>
          </a:xfrm>
          <a:prstGeom prst="rect">
            <a:avLst/>
          </a:prstGeom>
          <a:solidFill>
            <a:srgbClr val="E6E6E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a-DK"/>
          </a:p>
        </p:txBody>
      </p:sp>
      <p:sp>
        <p:nvSpPr>
          <p:cNvPr id="58" name="TextBox 57">
            <a:extLst>
              <a:ext uri="{FF2B5EF4-FFF2-40B4-BE49-F238E27FC236}">
                <a16:creationId xmlns:a16="http://schemas.microsoft.com/office/drawing/2014/main" id="{719299AC-D3D6-2C29-2F7B-DA88239AC2FC}"/>
              </a:ext>
            </a:extLst>
          </p:cNvPr>
          <p:cNvSpPr txBox="1"/>
          <p:nvPr/>
        </p:nvSpPr>
        <p:spPr bwMode="auto">
          <a:xfrm>
            <a:off x="1125463" y="3688716"/>
            <a:ext cx="2785766" cy="430887"/>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ad lyder svært? </a:t>
            </a:r>
          </a:p>
          <a:p>
            <a:pPr marR="0" algn="l" defTabSz="457200" rtl="0" eaLnBrk="0" fontAlgn="base" latinLnBrk="0" hangingPunct="0">
              <a:spcBef>
                <a:spcPct val="0"/>
              </a:spcBef>
              <a:buClrTx/>
              <a:buSzTx/>
              <a:tabLst/>
            </a:pPr>
            <a:r>
              <a:rPr kumimoji="0" lang="da-DK" sz="1400" b="0" i="0" u="none" strike="noStrike" kern="1200" cap="none" spc="0" normalizeH="0" baseline="0" noProof="0" dirty="0">
                <a:ln>
                  <a:noFill/>
                </a:ln>
                <a:solidFill>
                  <a:schemeClr val="tx1"/>
                </a:solidFill>
                <a:effectLst/>
                <a:uLnTx/>
                <a:uFillTx/>
                <a:latin typeface="Quicksand" panose="020B0604020202020204"/>
                <a:ea typeface="Verdana" pitchFamily="34" charset="0"/>
                <a:cs typeface="Verdana" pitchFamily="34" charset="0"/>
              </a:rPr>
              <a:t>Hvordan kan vi overkomme det?</a:t>
            </a:r>
          </a:p>
        </p:txBody>
      </p:sp>
      <p:sp>
        <p:nvSpPr>
          <p:cNvPr id="60" name="TextBox 59">
            <a:extLst>
              <a:ext uri="{FF2B5EF4-FFF2-40B4-BE49-F238E27FC236}">
                <a16:creationId xmlns:a16="http://schemas.microsoft.com/office/drawing/2014/main" id="{16C57276-7541-172E-07A2-1EA92EB7F2B1}"/>
              </a:ext>
            </a:extLst>
          </p:cNvPr>
          <p:cNvSpPr txBox="1"/>
          <p:nvPr/>
        </p:nvSpPr>
        <p:spPr bwMode="auto">
          <a:xfrm>
            <a:off x="1125463" y="3234226"/>
            <a:ext cx="1706238" cy="369332"/>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defTabSz="457191" eaLnBrk="0" hangingPunct="0"/>
            <a:r>
              <a:rPr lang="da-DK" sz="2400">
                <a:latin typeface="Quicksand" panose="020B0604020202020204"/>
              </a:rPr>
              <a:t>PUUH!</a:t>
            </a:r>
            <a:endParaRPr lang="da-DK" sz="2400" spc="0">
              <a:latin typeface="Quicksand" panose="020B0604020202020204"/>
            </a:endParaRPr>
          </a:p>
        </p:txBody>
      </p:sp>
      <p:sp>
        <p:nvSpPr>
          <p:cNvPr id="61" name="Shape 336">
            <a:extLst>
              <a:ext uri="{FF2B5EF4-FFF2-40B4-BE49-F238E27FC236}">
                <a16:creationId xmlns:a16="http://schemas.microsoft.com/office/drawing/2014/main" id="{776E869D-7391-D603-C678-A8E594F435DF}"/>
              </a:ext>
            </a:extLst>
          </p:cNvPr>
          <p:cNvSpPr>
            <a:spLocks noChangeAspect="1"/>
          </p:cNvSpPr>
          <p:nvPr/>
        </p:nvSpPr>
        <p:spPr>
          <a:xfrm>
            <a:off x="619653" y="3225997"/>
            <a:ext cx="397493" cy="492992"/>
          </a:xfrm>
          <a:custGeom>
            <a:avLst/>
            <a:gdLst/>
            <a:ahLst/>
            <a:cxnLst/>
            <a:rect l="0" t="0" r="0" b="0"/>
            <a:pathLst>
              <a:path w="13554" h="18858" extrusionOk="0">
                <a:moveTo>
                  <a:pt x="7032" y="462"/>
                </a:moveTo>
                <a:lnTo>
                  <a:pt x="7300" y="487"/>
                </a:lnTo>
                <a:lnTo>
                  <a:pt x="7592" y="511"/>
                </a:lnTo>
                <a:lnTo>
                  <a:pt x="7860" y="560"/>
                </a:lnTo>
                <a:lnTo>
                  <a:pt x="8127" y="633"/>
                </a:lnTo>
                <a:lnTo>
                  <a:pt x="8395" y="706"/>
                </a:lnTo>
                <a:lnTo>
                  <a:pt x="8662" y="803"/>
                </a:lnTo>
                <a:lnTo>
                  <a:pt x="8906" y="925"/>
                </a:lnTo>
                <a:lnTo>
                  <a:pt x="9173" y="1046"/>
                </a:lnTo>
                <a:lnTo>
                  <a:pt x="9417" y="1168"/>
                </a:lnTo>
                <a:lnTo>
                  <a:pt x="9636" y="1338"/>
                </a:lnTo>
                <a:lnTo>
                  <a:pt x="9879" y="1484"/>
                </a:lnTo>
                <a:lnTo>
                  <a:pt x="10074" y="1679"/>
                </a:lnTo>
                <a:lnTo>
                  <a:pt x="10293" y="1849"/>
                </a:lnTo>
                <a:lnTo>
                  <a:pt x="10487" y="2068"/>
                </a:lnTo>
                <a:lnTo>
                  <a:pt x="10731" y="2336"/>
                </a:lnTo>
                <a:lnTo>
                  <a:pt x="10950" y="2652"/>
                </a:lnTo>
                <a:lnTo>
                  <a:pt x="11144" y="2969"/>
                </a:lnTo>
                <a:lnTo>
                  <a:pt x="11290" y="3285"/>
                </a:lnTo>
                <a:lnTo>
                  <a:pt x="11412" y="3626"/>
                </a:lnTo>
                <a:lnTo>
                  <a:pt x="11509" y="3966"/>
                </a:lnTo>
                <a:lnTo>
                  <a:pt x="11582" y="4331"/>
                </a:lnTo>
                <a:lnTo>
                  <a:pt x="11607" y="4721"/>
                </a:lnTo>
                <a:lnTo>
                  <a:pt x="11631" y="5378"/>
                </a:lnTo>
                <a:lnTo>
                  <a:pt x="11655" y="6059"/>
                </a:lnTo>
                <a:lnTo>
                  <a:pt x="11680" y="6716"/>
                </a:lnTo>
                <a:lnTo>
                  <a:pt x="11704" y="7057"/>
                </a:lnTo>
                <a:lnTo>
                  <a:pt x="11753" y="7397"/>
                </a:lnTo>
                <a:lnTo>
                  <a:pt x="10706" y="7397"/>
                </a:lnTo>
                <a:lnTo>
                  <a:pt x="10682" y="6327"/>
                </a:lnTo>
                <a:lnTo>
                  <a:pt x="10682" y="5767"/>
                </a:lnTo>
                <a:lnTo>
                  <a:pt x="10658" y="5232"/>
                </a:lnTo>
                <a:lnTo>
                  <a:pt x="10585" y="4672"/>
                </a:lnTo>
                <a:lnTo>
                  <a:pt x="10512" y="4429"/>
                </a:lnTo>
                <a:lnTo>
                  <a:pt x="10463" y="4161"/>
                </a:lnTo>
                <a:lnTo>
                  <a:pt x="10366" y="3893"/>
                </a:lnTo>
                <a:lnTo>
                  <a:pt x="10268" y="3650"/>
                </a:lnTo>
                <a:lnTo>
                  <a:pt x="10147" y="3407"/>
                </a:lnTo>
                <a:lnTo>
                  <a:pt x="10001" y="3163"/>
                </a:lnTo>
                <a:lnTo>
                  <a:pt x="9879" y="2993"/>
                </a:lnTo>
                <a:lnTo>
                  <a:pt x="9733" y="2823"/>
                </a:lnTo>
                <a:lnTo>
                  <a:pt x="9587" y="2652"/>
                </a:lnTo>
                <a:lnTo>
                  <a:pt x="9417" y="2506"/>
                </a:lnTo>
                <a:lnTo>
                  <a:pt x="9052" y="2263"/>
                </a:lnTo>
                <a:lnTo>
                  <a:pt x="8662" y="2044"/>
                </a:lnTo>
                <a:lnTo>
                  <a:pt x="8273" y="1874"/>
                </a:lnTo>
                <a:lnTo>
                  <a:pt x="7835" y="1728"/>
                </a:lnTo>
                <a:lnTo>
                  <a:pt x="7397" y="1630"/>
                </a:lnTo>
                <a:lnTo>
                  <a:pt x="6959" y="1582"/>
                </a:lnTo>
                <a:lnTo>
                  <a:pt x="6521" y="1582"/>
                </a:lnTo>
                <a:lnTo>
                  <a:pt x="6083" y="1630"/>
                </a:lnTo>
                <a:lnTo>
                  <a:pt x="5670" y="1728"/>
                </a:lnTo>
                <a:lnTo>
                  <a:pt x="5232" y="1898"/>
                </a:lnTo>
                <a:lnTo>
                  <a:pt x="4842" y="2093"/>
                </a:lnTo>
                <a:lnTo>
                  <a:pt x="4477" y="2336"/>
                </a:lnTo>
                <a:lnTo>
                  <a:pt x="4307" y="2482"/>
                </a:lnTo>
                <a:lnTo>
                  <a:pt x="4161" y="2628"/>
                </a:lnTo>
                <a:lnTo>
                  <a:pt x="4015" y="2798"/>
                </a:lnTo>
                <a:lnTo>
                  <a:pt x="3869" y="2969"/>
                </a:lnTo>
                <a:lnTo>
                  <a:pt x="3723" y="3212"/>
                </a:lnTo>
                <a:lnTo>
                  <a:pt x="3577" y="3455"/>
                </a:lnTo>
                <a:lnTo>
                  <a:pt x="3455" y="3699"/>
                </a:lnTo>
                <a:lnTo>
                  <a:pt x="3358" y="3966"/>
                </a:lnTo>
                <a:lnTo>
                  <a:pt x="3261" y="4234"/>
                </a:lnTo>
                <a:lnTo>
                  <a:pt x="3188" y="4502"/>
                </a:lnTo>
                <a:lnTo>
                  <a:pt x="3090" y="5086"/>
                </a:lnTo>
                <a:lnTo>
                  <a:pt x="3017" y="5645"/>
                </a:lnTo>
                <a:lnTo>
                  <a:pt x="2993" y="6229"/>
                </a:lnTo>
                <a:lnTo>
                  <a:pt x="2969" y="6789"/>
                </a:lnTo>
                <a:lnTo>
                  <a:pt x="2993" y="7349"/>
                </a:lnTo>
                <a:lnTo>
                  <a:pt x="2993" y="7397"/>
                </a:lnTo>
                <a:lnTo>
                  <a:pt x="2385" y="7373"/>
                </a:lnTo>
                <a:lnTo>
                  <a:pt x="1776" y="7397"/>
                </a:lnTo>
                <a:lnTo>
                  <a:pt x="1801" y="7324"/>
                </a:lnTo>
                <a:lnTo>
                  <a:pt x="1825" y="7227"/>
                </a:lnTo>
                <a:lnTo>
                  <a:pt x="1752" y="6692"/>
                </a:lnTo>
                <a:lnTo>
                  <a:pt x="1752" y="6132"/>
                </a:lnTo>
                <a:lnTo>
                  <a:pt x="1801" y="5572"/>
                </a:lnTo>
                <a:lnTo>
                  <a:pt x="1874" y="5037"/>
                </a:lnTo>
                <a:lnTo>
                  <a:pt x="1995" y="4477"/>
                </a:lnTo>
                <a:lnTo>
                  <a:pt x="2141" y="3942"/>
                </a:lnTo>
                <a:lnTo>
                  <a:pt x="2336" y="3431"/>
                </a:lnTo>
                <a:lnTo>
                  <a:pt x="2555" y="2944"/>
                </a:lnTo>
                <a:lnTo>
                  <a:pt x="2701" y="2652"/>
                </a:lnTo>
                <a:lnTo>
                  <a:pt x="2871" y="2409"/>
                </a:lnTo>
                <a:lnTo>
                  <a:pt x="3066" y="2166"/>
                </a:lnTo>
                <a:lnTo>
                  <a:pt x="3261" y="1922"/>
                </a:lnTo>
                <a:lnTo>
                  <a:pt x="3455" y="1728"/>
                </a:lnTo>
                <a:lnTo>
                  <a:pt x="3699" y="1533"/>
                </a:lnTo>
                <a:lnTo>
                  <a:pt x="3918" y="1363"/>
                </a:lnTo>
                <a:lnTo>
                  <a:pt x="4185" y="1192"/>
                </a:lnTo>
                <a:lnTo>
                  <a:pt x="4429" y="1046"/>
                </a:lnTo>
                <a:lnTo>
                  <a:pt x="4696" y="925"/>
                </a:lnTo>
                <a:lnTo>
                  <a:pt x="4988" y="803"/>
                </a:lnTo>
                <a:lnTo>
                  <a:pt x="5280" y="706"/>
                </a:lnTo>
                <a:lnTo>
                  <a:pt x="5572" y="633"/>
                </a:lnTo>
                <a:lnTo>
                  <a:pt x="5864" y="560"/>
                </a:lnTo>
                <a:lnTo>
                  <a:pt x="6156" y="511"/>
                </a:lnTo>
                <a:lnTo>
                  <a:pt x="6473" y="487"/>
                </a:lnTo>
                <a:lnTo>
                  <a:pt x="6740" y="462"/>
                </a:lnTo>
                <a:close/>
                <a:moveTo>
                  <a:pt x="6838" y="2020"/>
                </a:moveTo>
                <a:lnTo>
                  <a:pt x="7251" y="2044"/>
                </a:lnTo>
                <a:lnTo>
                  <a:pt x="7665" y="2117"/>
                </a:lnTo>
                <a:lnTo>
                  <a:pt x="8054" y="2239"/>
                </a:lnTo>
                <a:lnTo>
                  <a:pt x="8443" y="2409"/>
                </a:lnTo>
                <a:lnTo>
                  <a:pt x="8808" y="2628"/>
                </a:lnTo>
                <a:lnTo>
                  <a:pt x="9149" y="2871"/>
                </a:lnTo>
                <a:lnTo>
                  <a:pt x="9441" y="3163"/>
                </a:lnTo>
                <a:lnTo>
                  <a:pt x="9587" y="3334"/>
                </a:lnTo>
                <a:lnTo>
                  <a:pt x="9709" y="3504"/>
                </a:lnTo>
                <a:lnTo>
                  <a:pt x="9830" y="3723"/>
                </a:lnTo>
                <a:lnTo>
                  <a:pt x="9928" y="3942"/>
                </a:lnTo>
                <a:lnTo>
                  <a:pt x="10025" y="4161"/>
                </a:lnTo>
                <a:lnTo>
                  <a:pt x="10098" y="4404"/>
                </a:lnTo>
                <a:lnTo>
                  <a:pt x="10195" y="4891"/>
                </a:lnTo>
                <a:lnTo>
                  <a:pt x="10244" y="5402"/>
                </a:lnTo>
                <a:lnTo>
                  <a:pt x="10268" y="5913"/>
                </a:lnTo>
                <a:lnTo>
                  <a:pt x="10268" y="6424"/>
                </a:lnTo>
                <a:lnTo>
                  <a:pt x="10268" y="7422"/>
                </a:lnTo>
                <a:lnTo>
                  <a:pt x="6862" y="7422"/>
                </a:lnTo>
                <a:lnTo>
                  <a:pt x="5402" y="7397"/>
                </a:lnTo>
                <a:lnTo>
                  <a:pt x="3309" y="7397"/>
                </a:lnTo>
                <a:lnTo>
                  <a:pt x="3382" y="6911"/>
                </a:lnTo>
                <a:lnTo>
                  <a:pt x="3455" y="6400"/>
                </a:lnTo>
                <a:lnTo>
                  <a:pt x="3528" y="5426"/>
                </a:lnTo>
                <a:lnTo>
                  <a:pt x="3577" y="4940"/>
                </a:lnTo>
                <a:lnTo>
                  <a:pt x="3674" y="4453"/>
                </a:lnTo>
                <a:lnTo>
                  <a:pt x="3747" y="4234"/>
                </a:lnTo>
                <a:lnTo>
                  <a:pt x="3820" y="3991"/>
                </a:lnTo>
                <a:lnTo>
                  <a:pt x="3918" y="3747"/>
                </a:lnTo>
                <a:lnTo>
                  <a:pt x="4039" y="3528"/>
                </a:lnTo>
                <a:lnTo>
                  <a:pt x="4137" y="3334"/>
                </a:lnTo>
                <a:lnTo>
                  <a:pt x="4258" y="3163"/>
                </a:lnTo>
                <a:lnTo>
                  <a:pt x="4404" y="3017"/>
                </a:lnTo>
                <a:lnTo>
                  <a:pt x="4550" y="2871"/>
                </a:lnTo>
                <a:lnTo>
                  <a:pt x="4696" y="2725"/>
                </a:lnTo>
                <a:lnTo>
                  <a:pt x="4867" y="2604"/>
                </a:lnTo>
                <a:lnTo>
                  <a:pt x="5232" y="2385"/>
                </a:lnTo>
                <a:lnTo>
                  <a:pt x="5597" y="2214"/>
                </a:lnTo>
                <a:lnTo>
                  <a:pt x="6010" y="2093"/>
                </a:lnTo>
                <a:lnTo>
                  <a:pt x="6424" y="2044"/>
                </a:lnTo>
                <a:lnTo>
                  <a:pt x="6838" y="2020"/>
                </a:lnTo>
                <a:close/>
                <a:moveTo>
                  <a:pt x="6984" y="11388"/>
                </a:moveTo>
                <a:lnTo>
                  <a:pt x="6497" y="11631"/>
                </a:lnTo>
                <a:lnTo>
                  <a:pt x="6302" y="11728"/>
                </a:lnTo>
                <a:lnTo>
                  <a:pt x="6083" y="11826"/>
                </a:lnTo>
                <a:lnTo>
                  <a:pt x="6083" y="11826"/>
                </a:lnTo>
                <a:lnTo>
                  <a:pt x="6132" y="11704"/>
                </a:lnTo>
                <a:lnTo>
                  <a:pt x="6205" y="11607"/>
                </a:lnTo>
                <a:lnTo>
                  <a:pt x="6302" y="11534"/>
                </a:lnTo>
                <a:lnTo>
                  <a:pt x="6400" y="11485"/>
                </a:lnTo>
                <a:lnTo>
                  <a:pt x="6497" y="11436"/>
                </a:lnTo>
                <a:lnTo>
                  <a:pt x="6740" y="11388"/>
                </a:lnTo>
                <a:close/>
                <a:moveTo>
                  <a:pt x="7762" y="11899"/>
                </a:moveTo>
                <a:lnTo>
                  <a:pt x="7811" y="12045"/>
                </a:lnTo>
                <a:lnTo>
                  <a:pt x="7835" y="12191"/>
                </a:lnTo>
                <a:lnTo>
                  <a:pt x="7835" y="12191"/>
                </a:lnTo>
                <a:lnTo>
                  <a:pt x="7787" y="12166"/>
                </a:lnTo>
                <a:lnTo>
                  <a:pt x="7738" y="12142"/>
                </a:lnTo>
                <a:lnTo>
                  <a:pt x="7592" y="12166"/>
                </a:lnTo>
                <a:lnTo>
                  <a:pt x="7470" y="12191"/>
                </a:lnTo>
                <a:lnTo>
                  <a:pt x="7470" y="12191"/>
                </a:lnTo>
                <a:lnTo>
                  <a:pt x="7616" y="12093"/>
                </a:lnTo>
                <a:lnTo>
                  <a:pt x="7714" y="11996"/>
                </a:lnTo>
                <a:lnTo>
                  <a:pt x="7762" y="11899"/>
                </a:lnTo>
                <a:close/>
                <a:moveTo>
                  <a:pt x="7422" y="11534"/>
                </a:moveTo>
                <a:lnTo>
                  <a:pt x="7519" y="11582"/>
                </a:lnTo>
                <a:lnTo>
                  <a:pt x="7592" y="11680"/>
                </a:lnTo>
                <a:lnTo>
                  <a:pt x="7543" y="11680"/>
                </a:lnTo>
                <a:lnTo>
                  <a:pt x="7251" y="11826"/>
                </a:lnTo>
                <a:lnTo>
                  <a:pt x="6935" y="11947"/>
                </a:lnTo>
                <a:lnTo>
                  <a:pt x="6351" y="12239"/>
                </a:lnTo>
                <a:lnTo>
                  <a:pt x="6132" y="12337"/>
                </a:lnTo>
                <a:lnTo>
                  <a:pt x="5986" y="12410"/>
                </a:lnTo>
                <a:lnTo>
                  <a:pt x="5864" y="12507"/>
                </a:lnTo>
                <a:lnTo>
                  <a:pt x="5864" y="12507"/>
                </a:lnTo>
                <a:lnTo>
                  <a:pt x="5889" y="12337"/>
                </a:lnTo>
                <a:lnTo>
                  <a:pt x="5913" y="12191"/>
                </a:lnTo>
                <a:lnTo>
                  <a:pt x="6059" y="12191"/>
                </a:lnTo>
                <a:lnTo>
                  <a:pt x="6205" y="12142"/>
                </a:lnTo>
                <a:lnTo>
                  <a:pt x="6473" y="12020"/>
                </a:lnTo>
                <a:lnTo>
                  <a:pt x="6911" y="11801"/>
                </a:lnTo>
                <a:lnTo>
                  <a:pt x="7349" y="11582"/>
                </a:lnTo>
                <a:lnTo>
                  <a:pt x="7422" y="11534"/>
                </a:lnTo>
                <a:close/>
                <a:moveTo>
                  <a:pt x="5864" y="12653"/>
                </a:moveTo>
                <a:lnTo>
                  <a:pt x="5937" y="12702"/>
                </a:lnTo>
                <a:lnTo>
                  <a:pt x="6059" y="12726"/>
                </a:lnTo>
                <a:lnTo>
                  <a:pt x="6205" y="12702"/>
                </a:lnTo>
                <a:lnTo>
                  <a:pt x="6327" y="12653"/>
                </a:lnTo>
                <a:lnTo>
                  <a:pt x="6132" y="12799"/>
                </a:lnTo>
                <a:lnTo>
                  <a:pt x="6059" y="12872"/>
                </a:lnTo>
                <a:lnTo>
                  <a:pt x="5986" y="12969"/>
                </a:lnTo>
                <a:lnTo>
                  <a:pt x="5986" y="12994"/>
                </a:lnTo>
                <a:lnTo>
                  <a:pt x="5937" y="12945"/>
                </a:lnTo>
                <a:lnTo>
                  <a:pt x="5889" y="12872"/>
                </a:lnTo>
                <a:lnTo>
                  <a:pt x="5864" y="12799"/>
                </a:lnTo>
                <a:lnTo>
                  <a:pt x="5864" y="12677"/>
                </a:lnTo>
                <a:lnTo>
                  <a:pt x="5864" y="12653"/>
                </a:lnTo>
                <a:close/>
                <a:moveTo>
                  <a:pt x="7811" y="12458"/>
                </a:moveTo>
                <a:lnTo>
                  <a:pt x="7738" y="12629"/>
                </a:lnTo>
                <a:lnTo>
                  <a:pt x="7641" y="12799"/>
                </a:lnTo>
                <a:lnTo>
                  <a:pt x="7623" y="12828"/>
                </a:lnTo>
                <a:lnTo>
                  <a:pt x="7623" y="12828"/>
                </a:lnTo>
                <a:lnTo>
                  <a:pt x="7641" y="12775"/>
                </a:lnTo>
                <a:lnTo>
                  <a:pt x="7641" y="12726"/>
                </a:lnTo>
                <a:lnTo>
                  <a:pt x="7592" y="12677"/>
                </a:lnTo>
                <a:lnTo>
                  <a:pt x="7519" y="12653"/>
                </a:lnTo>
                <a:lnTo>
                  <a:pt x="7446" y="12653"/>
                </a:lnTo>
                <a:lnTo>
                  <a:pt x="7349" y="12677"/>
                </a:lnTo>
                <a:lnTo>
                  <a:pt x="7178" y="12726"/>
                </a:lnTo>
                <a:lnTo>
                  <a:pt x="6862" y="12921"/>
                </a:lnTo>
                <a:lnTo>
                  <a:pt x="6521" y="13140"/>
                </a:lnTo>
                <a:lnTo>
                  <a:pt x="6351" y="13237"/>
                </a:lnTo>
                <a:lnTo>
                  <a:pt x="6327" y="13213"/>
                </a:lnTo>
                <a:lnTo>
                  <a:pt x="6059" y="13067"/>
                </a:lnTo>
                <a:lnTo>
                  <a:pt x="6229" y="13067"/>
                </a:lnTo>
                <a:lnTo>
                  <a:pt x="6375" y="13018"/>
                </a:lnTo>
                <a:lnTo>
                  <a:pt x="6546" y="12969"/>
                </a:lnTo>
                <a:lnTo>
                  <a:pt x="6692" y="12896"/>
                </a:lnTo>
                <a:lnTo>
                  <a:pt x="6959" y="12775"/>
                </a:lnTo>
                <a:lnTo>
                  <a:pt x="7227" y="12677"/>
                </a:lnTo>
                <a:lnTo>
                  <a:pt x="7762" y="12483"/>
                </a:lnTo>
                <a:lnTo>
                  <a:pt x="7811" y="12458"/>
                </a:lnTo>
                <a:close/>
                <a:moveTo>
                  <a:pt x="7602" y="12862"/>
                </a:moveTo>
                <a:lnTo>
                  <a:pt x="7446" y="13115"/>
                </a:lnTo>
                <a:lnTo>
                  <a:pt x="7397" y="13115"/>
                </a:lnTo>
                <a:lnTo>
                  <a:pt x="7349" y="13140"/>
                </a:lnTo>
                <a:lnTo>
                  <a:pt x="7300" y="13164"/>
                </a:lnTo>
                <a:lnTo>
                  <a:pt x="7276" y="13213"/>
                </a:lnTo>
                <a:lnTo>
                  <a:pt x="7276" y="13261"/>
                </a:lnTo>
                <a:lnTo>
                  <a:pt x="7227" y="13237"/>
                </a:lnTo>
                <a:lnTo>
                  <a:pt x="7057" y="13237"/>
                </a:lnTo>
                <a:lnTo>
                  <a:pt x="6959" y="13286"/>
                </a:lnTo>
                <a:lnTo>
                  <a:pt x="6765" y="13383"/>
                </a:lnTo>
                <a:lnTo>
                  <a:pt x="6546" y="13505"/>
                </a:lnTo>
                <a:lnTo>
                  <a:pt x="6327" y="13602"/>
                </a:lnTo>
                <a:lnTo>
                  <a:pt x="6302" y="13407"/>
                </a:lnTo>
                <a:lnTo>
                  <a:pt x="6448" y="13407"/>
                </a:lnTo>
                <a:lnTo>
                  <a:pt x="6594" y="13383"/>
                </a:lnTo>
                <a:lnTo>
                  <a:pt x="6740" y="13334"/>
                </a:lnTo>
                <a:lnTo>
                  <a:pt x="6862" y="13261"/>
                </a:lnTo>
                <a:lnTo>
                  <a:pt x="7276" y="13091"/>
                </a:lnTo>
                <a:lnTo>
                  <a:pt x="7470" y="12994"/>
                </a:lnTo>
                <a:lnTo>
                  <a:pt x="7543" y="12921"/>
                </a:lnTo>
                <a:lnTo>
                  <a:pt x="7602" y="12862"/>
                </a:lnTo>
                <a:close/>
                <a:moveTo>
                  <a:pt x="7276" y="13529"/>
                </a:moveTo>
                <a:lnTo>
                  <a:pt x="7276" y="13797"/>
                </a:lnTo>
                <a:lnTo>
                  <a:pt x="7203" y="13772"/>
                </a:lnTo>
                <a:lnTo>
                  <a:pt x="7130" y="13797"/>
                </a:lnTo>
                <a:lnTo>
                  <a:pt x="6959" y="13845"/>
                </a:lnTo>
                <a:lnTo>
                  <a:pt x="6667" y="13991"/>
                </a:lnTo>
                <a:lnTo>
                  <a:pt x="6473" y="14113"/>
                </a:lnTo>
                <a:lnTo>
                  <a:pt x="6302" y="14259"/>
                </a:lnTo>
                <a:lnTo>
                  <a:pt x="6327" y="13870"/>
                </a:lnTo>
                <a:lnTo>
                  <a:pt x="6570" y="13870"/>
                </a:lnTo>
                <a:lnTo>
                  <a:pt x="6692" y="13821"/>
                </a:lnTo>
                <a:lnTo>
                  <a:pt x="6789" y="13772"/>
                </a:lnTo>
                <a:lnTo>
                  <a:pt x="7032" y="13675"/>
                </a:lnTo>
                <a:lnTo>
                  <a:pt x="7154" y="13602"/>
                </a:lnTo>
                <a:lnTo>
                  <a:pt x="7276" y="13529"/>
                </a:lnTo>
                <a:close/>
                <a:moveTo>
                  <a:pt x="7276" y="14819"/>
                </a:moveTo>
                <a:lnTo>
                  <a:pt x="7276" y="14989"/>
                </a:lnTo>
                <a:lnTo>
                  <a:pt x="6889" y="15012"/>
                </a:lnTo>
                <a:lnTo>
                  <a:pt x="6889" y="15012"/>
                </a:lnTo>
                <a:lnTo>
                  <a:pt x="7081" y="14916"/>
                </a:lnTo>
                <a:lnTo>
                  <a:pt x="7276" y="14819"/>
                </a:lnTo>
                <a:close/>
                <a:moveTo>
                  <a:pt x="7300" y="14089"/>
                </a:moveTo>
                <a:lnTo>
                  <a:pt x="7300" y="14162"/>
                </a:lnTo>
                <a:lnTo>
                  <a:pt x="7300" y="14210"/>
                </a:lnTo>
                <a:lnTo>
                  <a:pt x="7227" y="14186"/>
                </a:lnTo>
                <a:lnTo>
                  <a:pt x="7154" y="14210"/>
                </a:lnTo>
                <a:lnTo>
                  <a:pt x="6911" y="14332"/>
                </a:lnTo>
                <a:lnTo>
                  <a:pt x="6692" y="14502"/>
                </a:lnTo>
                <a:lnTo>
                  <a:pt x="6594" y="14575"/>
                </a:lnTo>
                <a:lnTo>
                  <a:pt x="6497" y="14673"/>
                </a:lnTo>
                <a:lnTo>
                  <a:pt x="6400" y="14770"/>
                </a:lnTo>
                <a:lnTo>
                  <a:pt x="6278" y="14843"/>
                </a:lnTo>
                <a:lnTo>
                  <a:pt x="6278" y="14867"/>
                </a:lnTo>
                <a:lnTo>
                  <a:pt x="6278" y="14892"/>
                </a:lnTo>
                <a:lnTo>
                  <a:pt x="6302" y="14892"/>
                </a:lnTo>
                <a:lnTo>
                  <a:pt x="6546" y="14867"/>
                </a:lnTo>
                <a:lnTo>
                  <a:pt x="6667" y="14843"/>
                </a:lnTo>
                <a:lnTo>
                  <a:pt x="6789" y="14794"/>
                </a:lnTo>
                <a:lnTo>
                  <a:pt x="7300" y="14527"/>
                </a:lnTo>
                <a:lnTo>
                  <a:pt x="7300" y="14551"/>
                </a:lnTo>
                <a:lnTo>
                  <a:pt x="7276" y="14551"/>
                </a:lnTo>
                <a:lnTo>
                  <a:pt x="7130" y="14624"/>
                </a:lnTo>
                <a:lnTo>
                  <a:pt x="7032" y="14697"/>
                </a:lnTo>
                <a:lnTo>
                  <a:pt x="6813" y="14867"/>
                </a:lnTo>
                <a:lnTo>
                  <a:pt x="6789" y="14916"/>
                </a:lnTo>
                <a:lnTo>
                  <a:pt x="6789" y="14965"/>
                </a:lnTo>
                <a:lnTo>
                  <a:pt x="6813" y="14989"/>
                </a:lnTo>
                <a:lnTo>
                  <a:pt x="6838" y="15013"/>
                </a:lnTo>
                <a:lnTo>
                  <a:pt x="6229" y="15013"/>
                </a:lnTo>
                <a:lnTo>
                  <a:pt x="6254" y="14746"/>
                </a:lnTo>
                <a:lnTo>
                  <a:pt x="6278" y="14502"/>
                </a:lnTo>
                <a:lnTo>
                  <a:pt x="6400" y="14478"/>
                </a:lnTo>
                <a:lnTo>
                  <a:pt x="6521" y="14454"/>
                </a:lnTo>
                <a:lnTo>
                  <a:pt x="6765" y="14332"/>
                </a:lnTo>
                <a:lnTo>
                  <a:pt x="7130" y="14186"/>
                </a:lnTo>
                <a:lnTo>
                  <a:pt x="7300" y="14089"/>
                </a:lnTo>
                <a:close/>
                <a:moveTo>
                  <a:pt x="6838" y="10925"/>
                </a:moveTo>
                <a:lnTo>
                  <a:pt x="6594" y="10950"/>
                </a:lnTo>
                <a:lnTo>
                  <a:pt x="6351" y="11023"/>
                </a:lnTo>
                <a:lnTo>
                  <a:pt x="6132" y="11144"/>
                </a:lnTo>
                <a:lnTo>
                  <a:pt x="5913" y="11290"/>
                </a:lnTo>
                <a:lnTo>
                  <a:pt x="5791" y="11436"/>
                </a:lnTo>
                <a:lnTo>
                  <a:pt x="5670" y="11607"/>
                </a:lnTo>
                <a:lnTo>
                  <a:pt x="5597" y="11801"/>
                </a:lnTo>
                <a:lnTo>
                  <a:pt x="5524" y="11996"/>
                </a:lnTo>
                <a:lnTo>
                  <a:pt x="5475" y="12191"/>
                </a:lnTo>
                <a:lnTo>
                  <a:pt x="5426" y="12410"/>
                </a:lnTo>
                <a:lnTo>
                  <a:pt x="5426" y="12604"/>
                </a:lnTo>
                <a:lnTo>
                  <a:pt x="5451" y="12799"/>
                </a:lnTo>
                <a:lnTo>
                  <a:pt x="5475" y="12921"/>
                </a:lnTo>
                <a:lnTo>
                  <a:pt x="5499" y="13042"/>
                </a:lnTo>
                <a:lnTo>
                  <a:pt x="5572" y="13140"/>
                </a:lnTo>
                <a:lnTo>
                  <a:pt x="5645" y="13237"/>
                </a:lnTo>
                <a:lnTo>
                  <a:pt x="5718" y="13334"/>
                </a:lnTo>
                <a:lnTo>
                  <a:pt x="5816" y="13383"/>
                </a:lnTo>
                <a:lnTo>
                  <a:pt x="5889" y="13456"/>
                </a:lnTo>
                <a:lnTo>
                  <a:pt x="6010" y="13480"/>
                </a:lnTo>
                <a:lnTo>
                  <a:pt x="5962" y="13675"/>
                </a:lnTo>
                <a:lnTo>
                  <a:pt x="5937" y="13894"/>
                </a:lnTo>
                <a:lnTo>
                  <a:pt x="5913" y="14332"/>
                </a:lnTo>
                <a:lnTo>
                  <a:pt x="5816" y="14794"/>
                </a:lnTo>
                <a:lnTo>
                  <a:pt x="5816" y="15038"/>
                </a:lnTo>
                <a:lnTo>
                  <a:pt x="5816" y="15159"/>
                </a:lnTo>
                <a:lnTo>
                  <a:pt x="5840" y="15281"/>
                </a:lnTo>
                <a:lnTo>
                  <a:pt x="5889" y="15330"/>
                </a:lnTo>
                <a:lnTo>
                  <a:pt x="5962" y="15378"/>
                </a:lnTo>
                <a:lnTo>
                  <a:pt x="6035" y="15403"/>
                </a:lnTo>
                <a:lnTo>
                  <a:pt x="6108" y="15378"/>
                </a:lnTo>
                <a:lnTo>
                  <a:pt x="6254" y="15403"/>
                </a:lnTo>
                <a:lnTo>
                  <a:pt x="6424" y="15427"/>
                </a:lnTo>
                <a:lnTo>
                  <a:pt x="6789" y="15427"/>
                </a:lnTo>
                <a:lnTo>
                  <a:pt x="7130" y="15403"/>
                </a:lnTo>
                <a:lnTo>
                  <a:pt x="7470" y="15378"/>
                </a:lnTo>
                <a:lnTo>
                  <a:pt x="7543" y="15354"/>
                </a:lnTo>
                <a:lnTo>
                  <a:pt x="7592" y="15330"/>
                </a:lnTo>
                <a:lnTo>
                  <a:pt x="7616" y="15281"/>
                </a:lnTo>
                <a:lnTo>
                  <a:pt x="7665" y="15232"/>
                </a:lnTo>
                <a:lnTo>
                  <a:pt x="7665" y="15159"/>
                </a:lnTo>
                <a:lnTo>
                  <a:pt x="7665" y="15111"/>
                </a:lnTo>
                <a:lnTo>
                  <a:pt x="7689" y="14308"/>
                </a:lnTo>
                <a:lnTo>
                  <a:pt x="7689" y="13894"/>
                </a:lnTo>
                <a:lnTo>
                  <a:pt x="7665" y="13699"/>
                </a:lnTo>
                <a:lnTo>
                  <a:pt x="7616" y="13505"/>
                </a:lnTo>
                <a:lnTo>
                  <a:pt x="7714" y="13456"/>
                </a:lnTo>
                <a:lnTo>
                  <a:pt x="7787" y="13407"/>
                </a:lnTo>
                <a:lnTo>
                  <a:pt x="7932" y="13164"/>
                </a:lnTo>
                <a:lnTo>
                  <a:pt x="8103" y="12896"/>
                </a:lnTo>
                <a:lnTo>
                  <a:pt x="8224" y="12629"/>
                </a:lnTo>
                <a:lnTo>
                  <a:pt x="8249" y="12483"/>
                </a:lnTo>
                <a:lnTo>
                  <a:pt x="8273" y="12337"/>
                </a:lnTo>
                <a:lnTo>
                  <a:pt x="8273" y="12191"/>
                </a:lnTo>
                <a:lnTo>
                  <a:pt x="8249" y="12020"/>
                </a:lnTo>
                <a:lnTo>
                  <a:pt x="8224" y="11874"/>
                </a:lnTo>
                <a:lnTo>
                  <a:pt x="8151" y="11728"/>
                </a:lnTo>
                <a:lnTo>
                  <a:pt x="8103" y="11607"/>
                </a:lnTo>
                <a:lnTo>
                  <a:pt x="8005" y="11485"/>
                </a:lnTo>
                <a:lnTo>
                  <a:pt x="7908" y="11363"/>
                </a:lnTo>
                <a:lnTo>
                  <a:pt x="7787" y="11242"/>
                </a:lnTo>
                <a:lnTo>
                  <a:pt x="7592" y="11120"/>
                </a:lnTo>
                <a:lnTo>
                  <a:pt x="7349" y="10998"/>
                </a:lnTo>
                <a:lnTo>
                  <a:pt x="7105" y="10950"/>
                </a:lnTo>
                <a:lnTo>
                  <a:pt x="6838" y="10925"/>
                </a:lnTo>
                <a:close/>
                <a:moveTo>
                  <a:pt x="12726" y="7811"/>
                </a:moveTo>
                <a:lnTo>
                  <a:pt x="12872" y="7860"/>
                </a:lnTo>
                <a:lnTo>
                  <a:pt x="12921" y="7884"/>
                </a:lnTo>
                <a:lnTo>
                  <a:pt x="12969" y="7933"/>
                </a:lnTo>
                <a:lnTo>
                  <a:pt x="12994" y="7981"/>
                </a:lnTo>
                <a:lnTo>
                  <a:pt x="13018" y="8078"/>
                </a:lnTo>
                <a:lnTo>
                  <a:pt x="13018" y="8103"/>
                </a:lnTo>
                <a:lnTo>
                  <a:pt x="12069" y="8103"/>
                </a:lnTo>
                <a:lnTo>
                  <a:pt x="11607" y="8151"/>
                </a:lnTo>
                <a:lnTo>
                  <a:pt x="11144" y="8200"/>
                </a:lnTo>
                <a:lnTo>
                  <a:pt x="10390" y="8200"/>
                </a:lnTo>
                <a:lnTo>
                  <a:pt x="10195" y="8224"/>
                </a:lnTo>
                <a:lnTo>
                  <a:pt x="10025" y="8273"/>
                </a:lnTo>
                <a:lnTo>
                  <a:pt x="9879" y="8346"/>
                </a:lnTo>
                <a:lnTo>
                  <a:pt x="9806" y="8395"/>
                </a:lnTo>
                <a:lnTo>
                  <a:pt x="9782" y="8443"/>
                </a:lnTo>
                <a:lnTo>
                  <a:pt x="9782" y="8492"/>
                </a:lnTo>
                <a:lnTo>
                  <a:pt x="9806" y="8541"/>
                </a:lnTo>
                <a:lnTo>
                  <a:pt x="9903" y="8589"/>
                </a:lnTo>
                <a:lnTo>
                  <a:pt x="11193" y="8589"/>
                </a:lnTo>
                <a:lnTo>
                  <a:pt x="11655" y="8565"/>
                </a:lnTo>
                <a:lnTo>
                  <a:pt x="12118" y="8589"/>
                </a:lnTo>
                <a:lnTo>
                  <a:pt x="12580" y="8589"/>
                </a:lnTo>
                <a:lnTo>
                  <a:pt x="12799" y="8565"/>
                </a:lnTo>
                <a:lnTo>
                  <a:pt x="13042" y="8541"/>
                </a:lnTo>
                <a:lnTo>
                  <a:pt x="13042" y="8735"/>
                </a:lnTo>
                <a:lnTo>
                  <a:pt x="13042" y="8979"/>
                </a:lnTo>
                <a:lnTo>
                  <a:pt x="12264" y="8979"/>
                </a:lnTo>
                <a:lnTo>
                  <a:pt x="11485" y="9003"/>
                </a:lnTo>
                <a:lnTo>
                  <a:pt x="11096" y="9027"/>
                </a:lnTo>
                <a:lnTo>
                  <a:pt x="10706" y="9052"/>
                </a:lnTo>
                <a:lnTo>
                  <a:pt x="10341" y="9125"/>
                </a:lnTo>
                <a:lnTo>
                  <a:pt x="10147" y="9173"/>
                </a:lnTo>
                <a:lnTo>
                  <a:pt x="9976" y="9246"/>
                </a:lnTo>
                <a:lnTo>
                  <a:pt x="9952" y="9295"/>
                </a:lnTo>
                <a:lnTo>
                  <a:pt x="9928" y="9344"/>
                </a:lnTo>
                <a:lnTo>
                  <a:pt x="9952" y="9392"/>
                </a:lnTo>
                <a:lnTo>
                  <a:pt x="10001" y="9417"/>
                </a:lnTo>
                <a:lnTo>
                  <a:pt x="10171" y="9441"/>
                </a:lnTo>
                <a:lnTo>
                  <a:pt x="10731" y="9441"/>
                </a:lnTo>
                <a:lnTo>
                  <a:pt x="11485" y="9368"/>
                </a:lnTo>
                <a:lnTo>
                  <a:pt x="12264" y="9368"/>
                </a:lnTo>
                <a:lnTo>
                  <a:pt x="13042" y="9344"/>
                </a:lnTo>
                <a:lnTo>
                  <a:pt x="13067" y="9733"/>
                </a:lnTo>
                <a:lnTo>
                  <a:pt x="12994" y="9684"/>
                </a:lnTo>
                <a:lnTo>
                  <a:pt x="12921" y="9660"/>
                </a:lnTo>
                <a:lnTo>
                  <a:pt x="12118" y="9709"/>
                </a:lnTo>
                <a:lnTo>
                  <a:pt x="11290" y="9757"/>
                </a:lnTo>
                <a:lnTo>
                  <a:pt x="10950" y="9782"/>
                </a:lnTo>
                <a:lnTo>
                  <a:pt x="10366" y="9782"/>
                </a:lnTo>
                <a:lnTo>
                  <a:pt x="10195" y="9830"/>
                </a:lnTo>
                <a:lnTo>
                  <a:pt x="10001" y="9879"/>
                </a:lnTo>
                <a:lnTo>
                  <a:pt x="9855" y="9952"/>
                </a:lnTo>
                <a:lnTo>
                  <a:pt x="9830" y="9976"/>
                </a:lnTo>
                <a:lnTo>
                  <a:pt x="9830" y="10001"/>
                </a:lnTo>
                <a:lnTo>
                  <a:pt x="9830" y="10049"/>
                </a:lnTo>
                <a:lnTo>
                  <a:pt x="9855" y="10074"/>
                </a:lnTo>
                <a:lnTo>
                  <a:pt x="10001" y="10147"/>
                </a:lnTo>
                <a:lnTo>
                  <a:pt x="10171" y="10195"/>
                </a:lnTo>
                <a:lnTo>
                  <a:pt x="10366" y="10220"/>
                </a:lnTo>
                <a:lnTo>
                  <a:pt x="10560" y="10220"/>
                </a:lnTo>
                <a:lnTo>
                  <a:pt x="10950" y="10195"/>
                </a:lnTo>
                <a:lnTo>
                  <a:pt x="11290" y="10171"/>
                </a:lnTo>
                <a:lnTo>
                  <a:pt x="12118" y="10122"/>
                </a:lnTo>
                <a:lnTo>
                  <a:pt x="12921" y="10098"/>
                </a:lnTo>
                <a:lnTo>
                  <a:pt x="13018" y="10074"/>
                </a:lnTo>
                <a:lnTo>
                  <a:pt x="13091" y="10001"/>
                </a:lnTo>
                <a:lnTo>
                  <a:pt x="13091" y="10390"/>
                </a:lnTo>
                <a:lnTo>
                  <a:pt x="13091" y="10633"/>
                </a:lnTo>
                <a:lnTo>
                  <a:pt x="12921" y="10609"/>
                </a:lnTo>
                <a:lnTo>
                  <a:pt x="12775" y="10585"/>
                </a:lnTo>
                <a:lnTo>
                  <a:pt x="12410" y="10585"/>
                </a:lnTo>
                <a:lnTo>
                  <a:pt x="12069" y="10609"/>
                </a:lnTo>
                <a:lnTo>
                  <a:pt x="11728" y="10609"/>
                </a:lnTo>
                <a:lnTo>
                  <a:pt x="11266" y="10585"/>
                </a:lnTo>
                <a:lnTo>
                  <a:pt x="10779" y="10560"/>
                </a:lnTo>
                <a:lnTo>
                  <a:pt x="10536" y="10585"/>
                </a:lnTo>
                <a:lnTo>
                  <a:pt x="10317" y="10633"/>
                </a:lnTo>
                <a:lnTo>
                  <a:pt x="10098" y="10706"/>
                </a:lnTo>
                <a:lnTo>
                  <a:pt x="9903" y="10828"/>
                </a:lnTo>
                <a:lnTo>
                  <a:pt x="9903" y="10852"/>
                </a:lnTo>
                <a:lnTo>
                  <a:pt x="9928" y="10877"/>
                </a:lnTo>
                <a:lnTo>
                  <a:pt x="10147" y="10950"/>
                </a:lnTo>
                <a:lnTo>
                  <a:pt x="10390" y="10974"/>
                </a:lnTo>
                <a:lnTo>
                  <a:pt x="10901" y="10998"/>
                </a:lnTo>
                <a:lnTo>
                  <a:pt x="11899" y="10998"/>
                </a:lnTo>
                <a:lnTo>
                  <a:pt x="12483" y="11047"/>
                </a:lnTo>
                <a:lnTo>
                  <a:pt x="12799" y="11047"/>
                </a:lnTo>
                <a:lnTo>
                  <a:pt x="13091" y="10998"/>
                </a:lnTo>
                <a:lnTo>
                  <a:pt x="13067" y="11363"/>
                </a:lnTo>
                <a:lnTo>
                  <a:pt x="12239" y="11388"/>
                </a:lnTo>
                <a:lnTo>
                  <a:pt x="11412" y="11461"/>
                </a:lnTo>
                <a:lnTo>
                  <a:pt x="11071" y="11485"/>
                </a:lnTo>
                <a:lnTo>
                  <a:pt x="10682" y="11509"/>
                </a:lnTo>
                <a:lnTo>
                  <a:pt x="10487" y="11534"/>
                </a:lnTo>
                <a:lnTo>
                  <a:pt x="10293" y="11558"/>
                </a:lnTo>
                <a:lnTo>
                  <a:pt x="10122" y="11607"/>
                </a:lnTo>
                <a:lnTo>
                  <a:pt x="9976" y="11680"/>
                </a:lnTo>
                <a:lnTo>
                  <a:pt x="9952" y="11704"/>
                </a:lnTo>
                <a:lnTo>
                  <a:pt x="9952" y="11728"/>
                </a:lnTo>
                <a:lnTo>
                  <a:pt x="9952" y="11753"/>
                </a:lnTo>
                <a:lnTo>
                  <a:pt x="9976" y="11777"/>
                </a:lnTo>
                <a:lnTo>
                  <a:pt x="10122" y="11850"/>
                </a:lnTo>
                <a:lnTo>
                  <a:pt x="10317" y="11874"/>
                </a:lnTo>
                <a:lnTo>
                  <a:pt x="10487" y="11899"/>
                </a:lnTo>
                <a:lnTo>
                  <a:pt x="10682" y="11899"/>
                </a:lnTo>
                <a:lnTo>
                  <a:pt x="11071" y="11874"/>
                </a:lnTo>
                <a:lnTo>
                  <a:pt x="11412" y="11826"/>
                </a:lnTo>
                <a:lnTo>
                  <a:pt x="12239" y="11777"/>
                </a:lnTo>
                <a:lnTo>
                  <a:pt x="13067" y="11728"/>
                </a:lnTo>
                <a:lnTo>
                  <a:pt x="13042" y="12312"/>
                </a:lnTo>
                <a:lnTo>
                  <a:pt x="12848" y="12264"/>
                </a:lnTo>
                <a:lnTo>
                  <a:pt x="12264" y="12264"/>
                </a:lnTo>
                <a:lnTo>
                  <a:pt x="11874" y="12288"/>
                </a:lnTo>
                <a:lnTo>
                  <a:pt x="11509" y="12312"/>
                </a:lnTo>
                <a:lnTo>
                  <a:pt x="11120" y="12312"/>
                </a:lnTo>
                <a:lnTo>
                  <a:pt x="10706" y="12288"/>
                </a:lnTo>
                <a:lnTo>
                  <a:pt x="10512" y="12312"/>
                </a:lnTo>
                <a:lnTo>
                  <a:pt x="10317" y="12337"/>
                </a:lnTo>
                <a:lnTo>
                  <a:pt x="10147" y="12385"/>
                </a:lnTo>
                <a:lnTo>
                  <a:pt x="9976" y="12483"/>
                </a:lnTo>
                <a:lnTo>
                  <a:pt x="9952" y="12507"/>
                </a:lnTo>
                <a:lnTo>
                  <a:pt x="9976" y="12531"/>
                </a:lnTo>
                <a:lnTo>
                  <a:pt x="10122" y="12629"/>
                </a:lnTo>
                <a:lnTo>
                  <a:pt x="10317" y="12677"/>
                </a:lnTo>
                <a:lnTo>
                  <a:pt x="10512" y="12726"/>
                </a:lnTo>
                <a:lnTo>
                  <a:pt x="11120" y="12726"/>
                </a:lnTo>
                <a:lnTo>
                  <a:pt x="11509" y="12702"/>
                </a:lnTo>
                <a:lnTo>
                  <a:pt x="12264" y="12726"/>
                </a:lnTo>
                <a:lnTo>
                  <a:pt x="12653" y="12702"/>
                </a:lnTo>
                <a:lnTo>
                  <a:pt x="12823" y="12677"/>
                </a:lnTo>
                <a:lnTo>
                  <a:pt x="13018" y="12653"/>
                </a:lnTo>
                <a:lnTo>
                  <a:pt x="12994" y="12848"/>
                </a:lnTo>
                <a:lnTo>
                  <a:pt x="12994" y="13164"/>
                </a:lnTo>
                <a:lnTo>
                  <a:pt x="12629" y="13115"/>
                </a:lnTo>
                <a:lnTo>
                  <a:pt x="12264" y="13115"/>
                </a:lnTo>
                <a:lnTo>
                  <a:pt x="11534" y="13164"/>
                </a:lnTo>
                <a:lnTo>
                  <a:pt x="11144" y="13164"/>
                </a:lnTo>
                <a:lnTo>
                  <a:pt x="10755" y="13188"/>
                </a:lnTo>
                <a:lnTo>
                  <a:pt x="10341" y="13213"/>
                </a:lnTo>
                <a:lnTo>
                  <a:pt x="10171" y="13261"/>
                </a:lnTo>
                <a:lnTo>
                  <a:pt x="9976" y="13310"/>
                </a:lnTo>
                <a:lnTo>
                  <a:pt x="9952" y="13334"/>
                </a:lnTo>
                <a:lnTo>
                  <a:pt x="9976" y="13383"/>
                </a:lnTo>
                <a:lnTo>
                  <a:pt x="10122" y="13480"/>
                </a:lnTo>
                <a:lnTo>
                  <a:pt x="10293" y="13529"/>
                </a:lnTo>
                <a:lnTo>
                  <a:pt x="10463" y="13578"/>
                </a:lnTo>
                <a:lnTo>
                  <a:pt x="11023" y="13578"/>
                </a:lnTo>
                <a:lnTo>
                  <a:pt x="11363" y="13553"/>
                </a:lnTo>
                <a:lnTo>
                  <a:pt x="12166" y="13505"/>
                </a:lnTo>
                <a:lnTo>
                  <a:pt x="12580" y="13505"/>
                </a:lnTo>
                <a:lnTo>
                  <a:pt x="12969" y="13529"/>
                </a:lnTo>
                <a:lnTo>
                  <a:pt x="12945" y="14210"/>
                </a:lnTo>
                <a:lnTo>
                  <a:pt x="12775" y="14137"/>
                </a:lnTo>
                <a:lnTo>
                  <a:pt x="12580" y="14089"/>
                </a:lnTo>
                <a:lnTo>
                  <a:pt x="12385" y="14064"/>
                </a:lnTo>
                <a:lnTo>
                  <a:pt x="11753" y="14064"/>
                </a:lnTo>
                <a:lnTo>
                  <a:pt x="11388" y="14089"/>
                </a:lnTo>
                <a:lnTo>
                  <a:pt x="10852" y="14137"/>
                </a:lnTo>
                <a:lnTo>
                  <a:pt x="10317" y="14162"/>
                </a:lnTo>
                <a:lnTo>
                  <a:pt x="10001" y="14186"/>
                </a:lnTo>
                <a:lnTo>
                  <a:pt x="9830" y="14235"/>
                </a:lnTo>
                <a:lnTo>
                  <a:pt x="9782" y="14259"/>
                </a:lnTo>
                <a:lnTo>
                  <a:pt x="9709" y="14308"/>
                </a:lnTo>
                <a:lnTo>
                  <a:pt x="9684" y="14332"/>
                </a:lnTo>
                <a:lnTo>
                  <a:pt x="9684" y="14381"/>
                </a:lnTo>
                <a:lnTo>
                  <a:pt x="9684" y="14429"/>
                </a:lnTo>
                <a:lnTo>
                  <a:pt x="9709" y="14478"/>
                </a:lnTo>
                <a:lnTo>
                  <a:pt x="9782" y="14527"/>
                </a:lnTo>
                <a:lnTo>
                  <a:pt x="9830" y="14551"/>
                </a:lnTo>
                <a:lnTo>
                  <a:pt x="10001" y="14600"/>
                </a:lnTo>
                <a:lnTo>
                  <a:pt x="10414" y="14600"/>
                </a:lnTo>
                <a:lnTo>
                  <a:pt x="10828" y="14551"/>
                </a:lnTo>
                <a:lnTo>
                  <a:pt x="11144" y="14527"/>
                </a:lnTo>
                <a:lnTo>
                  <a:pt x="11558" y="14502"/>
                </a:lnTo>
                <a:lnTo>
                  <a:pt x="11996" y="14454"/>
                </a:lnTo>
                <a:lnTo>
                  <a:pt x="12215" y="14478"/>
                </a:lnTo>
                <a:lnTo>
                  <a:pt x="12434" y="14478"/>
                </a:lnTo>
                <a:lnTo>
                  <a:pt x="12629" y="14527"/>
                </a:lnTo>
                <a:lnTo>
                  <a:pt x="12823" y="14600"/>
                </a:lnTo>
                <a:lnTo>
                  <a:pt x="12872" y="14624"/>
                </a:lnTo>
                <a:lnTo>
                  <a:pt x="12945" y="14624"/>
                </a:lnTo>
                <a:lnTo>
                  <a:pt x="12945" y="15062"/>
                </a:lnTo>
                <a:lnTo>
                  <a:pt x="12872" y="14989"/>
                </a:lnTo>
                <a:lnTo>
                  <a:pt x="12848" y="14965"/>
                </a:lnTo>
                <a:lnTo>
                  <a:pt x="12799" y="14940"/>
                </a:lnTo>
                <a:lnTo>
                  <a:pt x="12483" y="14916"/>
                </a:lnTo>
                <a:lnTo>
                  <a:pt x="12142" y="14892"/>
                </a:lnTo>
                <a:lnTo>
                  <a:pt x="11461" y="14916"/>
                </a:lnTo>
                <a:lnTo>
                  <a:pt x="10706" y="14940"/>
                </a:lnTo>
                <a:lnTo>
                  <a:pt x="10317" y="14965"/>
                </a:lnTo>
                <a:lnTo>
                  <a:pt x="9952" y="15013"/>
                </a:lnTo>
                <a:lnTo>
                  <a:pt x="9903" y="15038"/>
                </a:lnTo>
                <a:lnTo>
                  <a:pt x="9855" y="15086"/>
                </a:lnTo>
                <a:lnTo>
                  <a:pt x="9830" y="15135"/>
                </a:lnTo>
                <a:lnTo>
                  <a:pt x="9830" y="15208"/>
                </a:lnTo>
                <a:lnTo>
                  <a:pt x="9830" y="15257"/>
                </a:lnTo>
                <a:lnTo>
                  <a:pt x="9855" y="15305"/>
                </a:lnTo>
                <a:lnTo>
                  <a:pt x="9903" y="15354"/>
                </a:lnTo>
                <a:lnTo>
                  <a:pt x="9952" y="15378"/>
                </a:lnTo>
                <a:lnTo>
                  <a:pt x="10293" y="15403"/>
                </a:lnTo>
                <a:lnTo>
                  <a:pt x="10633" y="15403"/>
                </a:lnTo>
                <a:lnTo>
                  <a:pt x="11315" y="15378"/>
                </a:lnTo>
                <a:lnTo>
                  <a:pt x="12045" y="15354"/>
                </a:lnTo>
                <a:lnTo>
                  <a:pt x="12750" y="15330"/>
                </a:lnTo>
                <a:lnTo>
                  <a:pt x="12848" y="15305"/>
                </a:lnTo>
                <a:lnTo>
                  <a:pt x="12896" y="15257"/>
                </a:lnTo>
                <a:lnTo>
                  <a:pt x="12921" y="15232"/>
                </a:lnTo>
                <a:lnTo>
                  <a:pt x="12921" y="15695"/>
                </a:lnTo>
                <a:lnTo>
                  <a:pt x="12629" y="15646"/>
                </a:lnTo>
                <a:lnTo>
                  <a:pt x="12312" y="15646"/>
                </a:lnTo>
                <a:lnTo>
                  <a:pt x="11728" y="15670"/>
                </a:lnTo>
                <a:lnTo>
                  <a:pt x="11290" y="15695"/>
                </a:lnTo>
                <a:lnTo>
                  <a:pt x="10828" y="15743"/>
                </a:lnTo>
                <a:lnTo>
                  <a:pt x="10609" y="15792"/>
                </a:lnTo>
                <a:lnTo>
                  <a:pt x="10390" y="15865"/>
                </a:lnTo>
                <a:lnTo>
                  <a:pt x="10195" y="15938"/>
                </a:lnTo>
                <a:lnTo>
                  <a:pt x="10001" y="16060"/>
                </a:lnTo>
                <a:lnTo>
                  <a:pt x="9976" y="16084"/>
                </a:lnTo>
                <a:lnTo>
                  <a:pt x="9976" y="16133"/>
                </a:lnTo>
                <a:lnTo>
                  <a:pt x="9976" y="16157"/>
                </a:lnTo>
                <a:lnTo>
                  <a:pt x="10025" y="16181"/>
                </a:lnTo>
                <a:lnTo>
                  <a:pt x="10414" y="16181"/>
                </a:lnTo>
                <a:lnTo>
                  <a:pt x="10804" y="16157"/>
                </a:lnTo>
                <a:lnTo>
                  <a:pt x="11193" y="16108"/>
                </a:lnTo>
                <a:lnTo>
                  <a:pt x="11582" y="16084"/>
                </a:lnTo>
                <a:lnTo>
                  <a:pt x="12020" y="16060"/>
                </a:lnTo>
                <a:lnTo>
                  <a:pt x="12458" y="16060"/>
                </a:lnTo>
                <a:lnTo>
                  <a:pt x="12702" y="16084"/>
                </a:lnTo>
                <a:lnTo>
                  <a:pt x="12945" y="16133"/>
                </a:lnTo>
                <a:lnTo>
                  <a:pt x="12945" y="16424"/>
                </a:lnTo>
                <a:lnTo>
                  <a:pt x="12629" y="16400"/>
                </a:lnTo>
                <a:lnTo>
                  <a:pt x="12312" y="16400"/>
                </a:lnTo>
                <a:lnTo>
                  <a:pt x="11680" y="16424"/>
                </a:lnTo>
                <a:lnTo>
                  <a:pt x="11363" y="16424"/>
                </a:lnTo>
                <a:lnTo>
                  <a:pt x="10925" y="16449"/>
                </a:lnTo>
                <a:lnTo>
                  <a:pt x="10706" y="16473"/>
                </a:lnTo>
                <a:lnTo>
                  <a:pt x="10512" y="16522"/>
                </a:lnTo>
                <a:lnTo>
                  <a:pt x="10341" y="16619"/>
                </a:lnTo>
                <a:lnTo>
                  <a:pt x="10293" y="16668"/>
                </a:lnTo>
                <a:lnTo>
                  <a:pt x="10244" y="16716"/>
                </a:lnTo>
                <a:lnTo>
                  <a:pt x="10244" y="16814"/>
                </a:lnTo>
                <a:lnTo>
                  <a:pt x="10268" y="16838"/>
                </a:lnTo>
                <a:lnTo>
                  <a:pt x="10293" y="16862"/>
                </a:lnTo>
                <a:lnTo>
                  <a:pt x="10414" y="16935"/>
                </a:lnTo>
                <a:lnTo>
                  <a:pt x="10560" y="16960"/>
                </a:lnTo>
                <a:lnTo>
                  <a:pt x="10925" y="16960"/>
                </a:lnTo>
                <a:lnTo>
                  <a:pt x="11290" y="16935"/>
                </a:lnTo>
                <a:lnTo>
                  <a:pt x="11582" y="16887"/>
                </a:lnTo>
                <a:lnTo>
                  <a:pt x="12629" y="16887"/>
                </a:lnTo>
                <a:lnTo>
                  <a:pt x="12969" y="16935"/>
                </a:lnTo>
                <a:lnTo>
                  <a:pt x="12969" y="17179"/>
                </a:lnTo>
                <a:lnTo>
                  <a:pt x="12945" y="17227"/>
                </a:lnTo>
                <a:lnTo>
                  <a:pt x="12921" y="17276"/>
                </a:lnTo>
                <a:lnTo>
                  <a:pt x="12921" y="17373"/>
                </a:lnTo>
                <a:lnTo>
                  <a:pt x="12653" y="17349"/>
                </a:lnTo>
                <a:lnTo>
                  <a:pt x="12385" y="17349"/>
                </a:lnTo>
                <a:lnTo>
                  <a:pt x="11850" y="17398"/>
                </a:lnTo>
                <a:lnTo>
                  <a:pt x="11120" y="17422"/>
                </a:lnTo>
                <a:lnTo>
                  <a:pt x="10755" y="17471"/>
                </a:lnTo>
                <a:lnTo>
                  <a:pt x="10585" y="17519"/>
                </a:lnTo>
                <a:lnTo>
                  <a:pt x="10414" y="17592"/>
                </a:lnTo>
                <a:lnTo>
                  <a:pt x="10390" y="17592"/>
                </a:lnTo>
                <a:lnTo>
                  <a:pt x="10414" y="17617"/>
                </a:lnTo>
                <a:lnTo>
                  <a:pt x="10560" y="17665"/>
                </a:lnTo>
                <a:lnTo>
                  <a:pt x="10731" y="17714"/>
                </a:lnTo>
                <a:lnTo>
                  <a:pt x="11023" y="17738"/>
                </a:lnTo>
                <a:lnTo>
                  <a:pt x="12775" y="17738"/>
                </a:lnTo>
                <a:lnTo>
                  <a:pt x="12677" y="17836"/>
                </a:lnTo>
                <a:lnTo>
                  <a:pt x="12580" y="17957"/>
                </a:lnTo>
                <a:lnTo>
                  <a:pt x="12483" y="17909"/>
                </a:lnTo>
                <a:lnTo>
                  <a:pt x="12361" y="17884"/>
                </a:lnTo>
                <a:lnTo>
                  <a:pt x="11363" y="17884"/>
                </a:lnTo>
                <a:lnTo>
                  <a:pt x="11047" y="17909"/>
                </a:lnTo>
                <a:lnTo>
                  <a:pt x="10901" y="17933"/>
                </a:lnTo>
                <a:lnTo>
                  <a:pt x="10755" y="17957"/>
                </a:lnTo>
                <a:lnTo>
                  <a:pt x="10633" y="18030"/>
                </a:lnTo>
                <a:lnTo>
                  <a:pt x="10512" y="18103"/>
                </a:lnTo>
                <a:lnTo>
                  <a:pt x="10512" y="18128"/>
                </a:lnTo>
                <a:lnTo>
                  <a:pt x="10536" y="18152"/>
                </a:lnTo>
                <a:lnTo>
                  <a:pt x="10633" y="18201"/>
                </a:lnTo>
                <a:lnTo>
                  <a:pt x="10779" y="18249"/>
                </a:lnTo>
                <a:lnTo>
                  <a:pt x="10925" y="18274"/>
                </a:lnTo>
                <a:lnTo>
                  <a:pt x="11071" y="18274"/>
                </a:lnTo>
                <a:lnTo>
                  <a:pt x="11363" y="18249"/>
                </a:lnTo>
                <a:lnTo>
                  <a:pt x="11655" y="18225"/>
                </a:lnTo>
                <a:lnTo>
                  <a:pt x="11947" y="18249"/>
                </a:lnTo>
                <a:lnTo>
                  <a:pt x="11704" y="18298"/>
                </a:lnTo>
                <a:lnTo>
                  <a:pt x="11461" y="18322"/>
                </a:lnTo>
                <a:lnTo>
                  <a:pt x="10950" y="18371"/>
                </a:lnTo>
                <a:lnTo>
                  <a:pt x="10025" y="18395"/>
                </a:lnTo>
                <a:lnTo>
                  <a:pt x="9100" y="18420"/>
                </a:lnTo>
                <a:lnTo>
                  <a:pt x="8151" y="18420"/>
                </a:lnTo>
                <a:lnTo>
                  <a:pt x="7227" y="18395"/>
                </a:lnTo>
                <a:lnTo>
                  <a:pt x="6254" y="18347"/>
                </a:lnTo>
                <a:lnTo>
                  <a:pt x="5305" y="18371"/>
                </a:lnTo>
                <a:lnTo>
                  <a:pt x="3382" y="18420"/>
                </a:lnTo>
                <a:lnTo>
                  <a:pt x="2555" y="18444"/>
                </a:lnTo>
                <a:lnTo>
                  <a:pt x="2141" y="18444"/>
                </a:lnTo>
                <a:lnTo>
                  <a:pt x="1728" y="18420"/>
                </a:lnTo>
                <a:lnTo>
                  <a:pt x="1557" y="18395"/>
                </a:lnTo>
                <a:lnTo>
                  <a:pt x="1387" y="18347"/>
                </a:lnTo>
                <a:lnTo>
                  <a:pt x="1217" y="18298"/>
                </a:lnTo>
                <a:lnTo>
                  <a:pt x="1095" y="18249"/>
                </a:lnTo>
                <a:lnTo>
                  <a:pt x="949" y="18152"/>
                </a:lnTo>
                <a:lnTo>
                  <a:pt x="827" y="18079"/>
                </a:lnTo>
                <a:lnTo>
                  <a:pt x="608" y="17836"/>
                </a:lnTo>
                <a:lnTo>
                  <a:pt x="608" y="17787"/>
                </a:lnTo>
                <a:lnTo>
                  <a:pt x="633" y="17154"/>
                </a:lnTo>
                <a:lnTo>
                  <a:pt x="681" y="16497"/>
                </a:lnTo>
                <a:lnTo>
                  <a:pt x="681" y="15865"/>
                </a:lnTo>
                <a:lnTo>
                  <a:pt x="657" y="15549"/>
                </a:lnTo>
                <a:lnTo>
                  <a:pt x="633" y="15232"/>
                </a:lnTo>
                <a:lnTo>
                  <a:pt x="584" y="14892"/>
                </a:lnTo>
                <a:lnTo>
                  <a:pt x="560" y="14551"/>
                </a:lnTo>
                <a:lnTo>
                  <a:pt x="535" y="13845"/>
                </a:lnTo>
                <a:lnTo>
                  <a:pt x="560" y="13164"/>
                </a:lnTo>
                <a:lnTo>
                  <a:pt x="584" y="12483"/>
                </a:lnTo>
                <a:lnTo>
                  <a:pt x="608" y="11753"/>
                </a:lnTo>
                <a:lnTo>
                  <a:pt x="608" y="11023"/>
                </a:lnTo>
                <a:lnTo>
                  <a:pt x="608" y="9587"/>
                </a:lnTo>
                <a:lnTo>
                  <a:pt x="608" y="9052"/>
                </a:lnTo>
                <a:lnTo>
                  <a:pt x="608" y="8784"/>
                </a:lnTo>
                <a:lnTo>
                  <a:pt x="633" y="8516"/>
                </a:lnTo>
                <a:lnTo>
                  <a:pt x="657" y="8395"/>
                </a:lnTo>
                <a:lnTo>
                  <a:pt x="706" y="8297"/>
                </a:lnTo>
                <a:lnTo>
                  <a:pt x="827" y="8127"/>
                </a:lnTo>
                <a:lnTo>
                  <a:pt x="1071" y="7835"/>
                </a:lnTo>
                <a:lnTo>
                  <a:pt x="1411" y="7884"/>
                </a:lnTo>
                <a:lnTo>
                  <a:pt x="1728" y="7908"/>
                </a:lnTo>
                <a:lnTo>
                  <a:pt x="2409" y="7908"/>
                </a:lnTo>
                <a:lnTo>
                  <a:pt x="3066" y="7884"/>
                </a:lnTo>
                <a:lnTo>
                  <a:pt x="5207" y="7884"/>
                </a:lnTo>
                <a:lnTo>
                  <a:pt x="6692" y="7908"/>
                </a:lnTo>
                <a:lnTo>
                  <a:pt x="10268" y="7908"/>
                </a:lnTo>
                <a:lnTo>
                  <a:pt x="10974" y="7860"/>
                </a:lnTo>
                <a:lnTo>
                  <a:pt x="11315" y="7860"/>
                </a:lnTo>
                <a:lnTo>
                  <a:pt x="11631" y="7884"/>
                </a:lnTo>
                <a:lnTo>
                  <a:pt x="11972" y="7908"/>
                </a:lnTo>
                <a:lnTo>
                  <a:pt x="12312" y="7957"/>
                </a:lnTo>
                <a:lnTo>
                  <a:pt x="12410" y="7981"/>
                </a:lnTo>
                <a:lnTo>
                  <a:pt x="12483" y="7933"/>
                </a:lnTo>
                <a:lnTo>
                  <a:pt x="12556" y="7884"/>
                </a:lnTo>
                <a:lnTo>
                  <a:pt x="12604" y="7811"/>
                </a:lnTo>
                <a:close/>
                <a:moveTo>
                  <a:pt x="6643" y="0"/>
                </a:moveTo>
                <a:lnTo>
                  <a:pt x="6327" y="24"/>
                </a:lnTo>
                <a:lnTo>
                  <a:pt x="6010" y="49"/>
                </a:lnTo>
                <a:lnTo>
                  <a:pt x="5694" y="122"/>
                </a:lnTo>
                <a:lnTo>
                  <a:pt x="5402" y="170"/>
                </a:lnTo>
                <a:lnTo>
                  <a:pt x="5086" y="268"/>
                </a:lnTo>
                <a:lnTo>
                  <a:pt x="4794" y="365"/>
                </a:lnTo>
                <a:lnTo>
                  <a:pt x="4502" y="487"/>
                </a:lnTo>
                <a:lnTo>
                  <a:pt x="4210" y="633"/>
                </a:lnTo>
                <a:lnTo>
                  <a:pt x="3942" y="779"/>
                </a:lnTo>
                <a:lnTo>
                  <a:pt x="3674" y="949"/>
                </a:lnTo>
                <a:lnTo>
                  <a:pt x="3431" y="1144"/>
                </a:lnTo>
                <a:lnTo>
                  <a:pt x="3188" y="1338"/>
                </a:lnTo>
                <a:lnTo>
                  <a:pt x="2969" y="1557"/>
                </a:lnTo>
                <a:lnTo>
                  <a:pt x="2750" y="1776"/>
                </a:lnTo>
                <a:lnTo>
                  <a:pt x="2555" y="2044"/>
                </a:lnTo>
                <a:lnTo>
                  <a:pt x="2385" y="2287"/>
                </a:lnTo>
                <a:lnTo>
                  <a:pt x="2214" y="2579"/>
                </a:lnTo>
                <a:lnTo>
                  <a:pt x="1947" y="3090"/>
                </a:lnTo>
                <a:lnTo>
                  <a:pt x="1728" y="3674"/>
                </a:lnTo>
                <a:lnTo>
                  <a:pt x="1533" y="4283"/>
                </a:lnTo>
                <a:lnTo>
                  <a:pt x="1387" y="4891"/>
                </a:lnTo>
                <a:lnTo>
                  <a:pt x="1314" y="5524"/>
                </a:lnTo>
                <a:lnTo>
                  <a:pt x="1290" y="5840"/>
                </a:lnTo>
                <a:lnTo>
                  <a:pt x="1265" y="6156"/>
                </a:lnTo>
                <a:lnTo>
                  <a:pt x="1290" y="6448"/>
                </a:lnTo>
                <a:lnTo>
                  <a:pt x="1314" y="6765"/>
                </a:lnTo>
                <a:lnTo>
                  <a:pt x="1363" y="7057"/>
                </a:lnTo>
                <a:lnTo>
                  <a:pt x="1436" y="7349"/>
                </a:lnTo>
                <a:lnTo>
                  <a:pt x="1460" y="7422"/>
                </a:lnTo>
                <a:lnTo>
                  <a:pt x="998" y="7495"/>
                </a:lnTo>
                <a:lnTo>
                  <a:pt x="803" y="7495"/>
                </a:lnTo>
                <a:lnTo>
                  <a:pt x="730" y="7543"/>
                </a:lnTo>
                <a:lnTo>
                  <a:pt x="657" y="7568"/>
                </a:lnTo>
                <a:lnTo>
                  <a:pt x="511" y="7689"/>
                </a:lnTo>
                <a:lnTo>
                  <a:pt x="389" y="7860"/>
                </a:lnTo>
                <a:lnTo>
                  <a:pt x="292" y="8030"/>
                </a:lnTo>
                <a:lnTo>
                  <a:pt x="219" y="8200"/>
                </a:lnTo>
                <a:lnTo>
                  <a:pt x="170" y="8395"/>
                </a:lnTo>
                <a:lnTo>
                  <a:pt x="146" y="8565"/>
                </a:lnTo>
                <a:lnTo>
                  <a:pt x="97" y="8930"/>
                </a:lnTo>
                <a:lnTo>
                  <a:pt x="73" y="9319"/>
                </a:lnTo>
                <a:lnTo>
                  <a:pt x="73" y="10074"/>
                </a:lnTo>
                <a:lnTo>
                  <a:pt x="97" y="10828"/>
                </a:lnTo>
                <a:lnTo>
                  <a:pt x="97" y="11582"/>
                </a:lnTo>
                <a:lnTo>
                  <a:pt x="73" y="12361"/>
                </a:lnTo>
                <a:lnTo>
                  <a:pt x="24" y="13115"/>
                </a:lnTo>
                <a:lnTo>
                  <a:pt x="0" y="13894"/>
                </a:lnTo>
                <a:lnTo>
                  <a:pt x="0" y="14283"/>
                </a:lnTo>
                <a:lnTo>
                  <a:pt x="24" y="14673"/>
                </a:lnTo>
                <a:lnTo>
                  <a:pt x="97" y="15378"/>
                </a:lnTo>
                <a:lnTo>
                  <a:pt x="146" y="15743"/>
                </a:lnTo>
                <a:lnTo>
                  <a:pt x="146" y="16108"/>
                </a:lnTo>
                <a:lnTo>
                  <a:pt x="122" y="16935"/>
                </a:lnTo>
                <a:lnTo>
                  <a:pt x="97" y="17787"/>
                </a:lnTo>
                <a:lnTo>
                  <a:pt x="97" y="17860"/>
                </a:lnTo>
                <a:lnTo>
                  <a:pt x="146" y="17933"/>
                </a:lnTo>
                <a:lnTo>
                  <a:pt x="195" y="17982"/>
                </a:lnTo>
                <a:lnTo>
                  <a:pt x="243" y="18006"/>
                </a:lnTo>
                <a:lnTo>
                  <a:pt x="341" y="18152"/>
                </a:lnTo>
                <a:lnTo>
                  <a:pt x="438" y="18298"/>
                </a:lnTo>
                <a:lnTo>
                  <a:pt x="560" y="18420"/>
                </a:lnTo>
                <a:lnTo>
                  <a:pt x="681" y="18517"/>
                </a:lnTo>
                <a:lnTo>
                  <a:pt x="827" y="18590"/>
                </a:lnTo>
                <a:lnTo>
                  <a:pt x="973" y="18663"/>
                </a:lnTo>
                <a:lnTo>
                  <a:pt x="1314" y="18760"/>
                </a:lnTo>
                <a:lnTo>
                  <a:pt x="1655" y="18809"/>
                </a:lnTo>
                <a:lnTo>
                  <a:pt x="2020" y="18833"/>
                </a:lnTo>
                <a:lnTo>
                  <a:pt x="2677" y="18858"/>
                </a:lnTo>
                <a:lnTo>
                  <a:pt x="3869" y="18833"/>
                </a:lnTo>
                <a:lnTo>
                  <a:pt x="5037" y="18785"/>
                </a:lnTo>
                <a:lnTo>
                  <a:pt x="6813" y="18785"/>
                </a:lnTo>
                <a:lnTo>
                  <a:pt x="7422" y="18809"/>
                </a:lnTo>
                <a:lnTo>
                  <a:pt x="8443" y="18858"/>
                </a:lnTo>
                <a:lnTo>
                  <a:pt x="9465" y="18858"/>
                </a:lnTo>
                <a:lnTo>
                  <a:pt x="10487" y="18809"/>
                </a:lnTo>
                <a:lnTo>
                  <a:pt x="11509" y="18760"/>
                </a:lnTo>
                <a:lnTo>
                  <a:pt x="11801" y="18712"/>
                </a:lnTo>
                <a:lnTo>
                  <a:pt x="12069" y="18663"/>
                </a:lnTo>
                <a:lnTo>
                  <a:pt x="12337" y="18590"/>
                </a:lnTo>
                <a:lnTo>
                  <a:pt x="12556" y="18493"/>
                </a:lnTo>
                <a:lnTo>
                  <a:pt x="12775" y="18347"/>
                </a:lnTo>
                <a:lnTo>
                  <a:pt x="12969" y="18201"/>
                </a:lnTo>
                <a:lnTo>
                  <a:pt x="13115" y="17982"/>
                </a:lnTo>
                <a:lnTo>
                  <a:pt x="13237" y="17763"/>
                </a:lnTo>
                <a:lnTo>
                  <a:pt x="13286" y="17738"/>
                </a:lnTo>
                <a:lnTo>
                  <a:pt x="13310" y="17690"/>
                </a:lnTo>
                <a:lnTo>
                  <a:pt x="13334" y="17665"/>
                </a:lnTo>
                <a:lnTo>
                  <a:pt x="13334" y="17592"/>
                </a:lnTo>
                <a:lnTo>
                  <a:pt x="13334" y="17471"/>
                </a:lnTo>
                <a:lnTo>
                  <a:pt x="13359" y="17398"/>
                </a:lnTo>
                <a:lnTo>
                  <a:pt x="13359" y="17300"/>
                </a:lnTo>
                <a:lnTo>
                  <a:pt x="13310" y="17227"/>
                </a:lnTo>
                <a:lnTo>
                  <a:pt x="13310" y="16862"/>
                </a:lnTo>
                <a:lnTo>
                  <a:pt x="13334" y="16789"/>
                </a:lnTo>
                <a:lnTo>
                  <a:pt x="13359" y="16716"/>
                </a:lnTo>
                <a:lnTo>
                  <a:pt x="13334" y="16643"/>
                </a:lnTo>
                <a:lnTo>
                  <a:pt x="13310" y="16570"/>
                </a:lnTo>
                <a:lnTo>
                  <a:pt x="13286" y="16108"/>
                </a:lnTo>
                <a:lnTo>
                  <a:pt x="13334" y="16060"/>
                </a:lnTo>
                <a:lnTo>
                  <a:pt x="13359" y="15987"/>
                </a:lnTo>
                <a:lnTo>
                  <a:pt x="13359" y="15914"/>
                </a:lnTo>
                <a:lnTo>
                  <a:pt x="13310" y="15865"/>
                </a:lnTo>
                <a:lnTo>
                  <a:pt x="13359" y="14454"/>
                </a:lnTo>
                <a:lnTo>
                  <a:pt x="13432" y="13042"/>
                </a:lnTo>
                <a:lnTo>
                  <a:pt x="13480" y="11826"/>
                </a:lnTo>
                <a:lnTo>
                  <a:pt x="13529" y="10585"/>
                </a:lnTo>
                <a:lnTo>
                  <a:pt x="13553" y="10098"/>
                </a:lnTo>
                <a:lnTo>
                  <a:pt x="13553" y="9563"/>
                </a:lnTo>
                <a:lnTo>
                  <a:pt x="13529" y="9027"/>
                </a:lnTo>
                <a:lnTo>
                  <a:pt x="13505" y="8760"/>
                </a:lnTo>
                <a:lnTo>
                  <a:pt x="13456" y="8516"/>
                </a:lnTo>
                <a:lnTo>
                  <a:pt x="13432" y="8127"/>
                </a:lnTo>
                <a:lnTo>
                  <a:pt x="13383" y="7933"/>
                </a:lnTo>
                <a:lnTo>
                  <a:pt x="13334" y="7762"/>
                </a:lnTo>
                <a:lnTo>
                  <a:pt x="13261" y="7665"/>
                </a:lnTo>
                <a:lnTo>
                  <a:pt x="13188" y="7592"/>
                </a:lnTo>
                <a:lnTo>
                  <a:pt x="13091" y="7519"/>
                </a:lnTo>
                <a:lnTo>
                  <a:pt x="12969" y="7470"/>
                </a:lnTo>
                <a:lnTo>
                  <a:pt x="12848" y="7446"/>
                </a:lnTo>
                <a:lnTo>
                  <a:pt x="12726" y="7446"/>
                </a:lnTo>
                <a:lnTo>
                  <a:pt x="12604" y="7470"/>
                </a:lnTo>
                <a:lnTo>
                  <a:pt x="12483" y="7495"/>
                </a:lnTo>
                <a:lnTo>
                  <a:pt x="12434" y="7470"/>
                </a:lnTo>
                <a:lnTo>
                  <a:pt x="12239" y="7446"/>
                </a:lnTo>
                <a:lnTo>
                  <a:pt x="12239" y="7373"/>
                </a:lnTo>
                <a:lnTo>
                  <a:pt x="12166" y="6984"/>
                </a:lnTo>
                <a:lnTo>
                  <a:pt x="12118" y="6570"/>
                </a:lnTo>
                <a:lnTo>
                  <a:pt x="12093" y="6181"/>
                </a:lnTo>
                <a:lnTo>
                  <a:pt x="12093" y="5767"/>
                </a:lnTo>
                <a:lnTo>
                  <a:pt x="12093" y="4940"/>
                </a:lnTo>
                <a:lnTo>
                  <a:pt x="12069" y="4550"/>
                </a:lnTo>
                <a:lnTo>
                  <a:pt x="11996" y="4137"/>
                </a:lnTo>
                <a:lnTo>
                  <a:pt x="11923" y="3796"/>
                </a:lnTo>
                <a:lnTo>
                  <a:pt x="11826" y="3455"/>
                </a:lnTo>
                <a:lnTo>
                  <a:pt x="11704" y="3115"/>
                </a:lnTo>
                <a:lnTo>
                  <a:pt x="11558" y="2798"/>
                </a:lnTo>
                <a:lnTo>
                  <a:pt x="11388" y="2482"/>
                </a:lnTo>
                <a:lnTo>
                  <a:pt x="11193" y="2190"/>
                </a:lnTo>
                <a:lnTo>
                  <a:pt x="10974" y="1898"/>
                </a:lnTo>
                <a:lnTo>
                  <a:pt x="10731" y="1630"/>
                </a:lnTo>
                <a:lnTo>
                  <a:pt x="10512" y="1411"/>
                </a:lnTo>
                <a:lnTo>
                  <a:pt x="10293" y="1217"/>
                </a:lnTo>
                <a:lnTo>
                  <a:pt x="10049" y="1022"/>
                </a:lnTo>
                <a:lnTo>
                  <a:pt x="9806" y="852"/>
                </a:lnTo>
                <a:lnTo>
                  <a:pt x="9538" y="706"/>
                </a:lnTo>
                <a:lnTo>
                  <a:pt x="9271" y="560"/>
                </a:lnTo>
                <a:lnTo>
                  <a:pt x="9003" y="438"/>
                </a:lnTo>
                <a:lnTo>
                  <a:pt x="8711" y="341"/>
                </a:lnTo>
                <a:lnTo>
                  <a:pt x="8443" y="243"/>
                </a:lnTo>
                <a:lnTo>
                  <a:pt x="8151" y="170"/>
                </a:lnTo>
                <a:lnTo>
                  <a:pt x="7835" y="97"/>
                </a:lnTo>
                <a:lnTo>
                  <a:pt x="7543" y="49"/>
                </a:lnTo>
                <a:lnTo>
                  <a:pt x="7251" y="24"/>
                </a:lnTo>
                <a:lnTo>
                  <a:pt x="6935" y="0"/>
                </a:lnTo>
                <a:close/>
              </a:path>
            </a:pathLst>
          </a:custGeom>
          <a:solidFill>
            <a:schemeClr val="accent3"/>
          </a:solidFill>
          <a:ln>
            <a:noFill/>
          </a:ln>
        </p:spPr>
        <p:txBody>
          <a:bodyPr spcFirstLastPara="1" wrap="square" lIns="91425" tIns="91425" rIns="91425" bIns="91425" anchor="ctr" anchorCtr="0">
            <a:noAutofit/>
          </a:bodyPr>
          <a:lstStyle/>
          <a:p>
            <a:pPr marL="0" lvl="0" indent="0">
              <a:spcBef>
                <a:spcPts val="0"/>
              </a:spcBef>
              <a:spcAft>
                <a:spcPts val="0"/>
              </a:spcAft>
              <a:buNone/>
            </a:pPr>
            <a:endParaRPr/>
          </a:p>
        </p:txBody>
      </p:sp>
      <p:sp>
        <p:nvSpPr>
          <p:cNvPr id="9" name="Rectangle 8">
            <a:extLst>
              <a:ext uri="{FF2B5EF4-FFF2-40B4-BE49-F238E27FC236}">
                <a16:creationId xmlns:a16="http://schemas.microsoft.com/office/drawing/2014/main" id="{F4A62E7F-4F3A-B75C-F867-3B4D981D46EA}"/>
              </a:ext>
            </a:extLst>
          </p:cNvPr>
          <p:cNvSpPr/>
          <p:nvPr/>
        </p:nvSpPr>
        <p:spPr>
          <a:xfrm>
            <a:off x="4383800" y="6110793"/>
            <a:ext cx="204250" cy="209133"/>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7" name="TextBox 6">
            <a:extLst>
              <a:ext uri="{FF2B5EF4-FFF2-40B4-BE49-F238E27FC236}">
                <a16:creationId xmlns:a16="http://schemas.microsoft.com/office/drawing/2014/main" id="{FB1EF8C1-42AB-3837-6CB6-E03C4B7874B8}"/>
              </a:ext>
            </a:extLst>
          </p:cNvPr>
          <p:cNvSpPr txBox="1"/>
          <p:nvPr/>
        </p:nvSpPr>
        <p:spPr>
          <a:xfrm>
            <a:off x="4115732" y="6192035"/>
            <a:ext cx="4433193" cy="553998"/>
          </a:xfrm>
          <a:custGeom>
            <a:avLst/>
            <a:gdLst>
              <a:gd name="connsiteX0" fmla="*/ 0 w 4433193"/>
              <a:gd name="connsiteY0" fmla="*/ 0 h 553998"/>
              <a:gd name="connsiteX1" fmla="*/ 588981 w 4433193"/>
              <a:gd name="connsiteY1" fmla="*/ 0 h 553998"/>
              <a:gd name="connsiteX2" fmla="*/ 1089299 w 4433193"/>
              <a:gd name="connsiteY2" fmla="*/ 0 h 553998"/>
              <a:gd name="connsiteX3" fmla="*/ 1633948 w 4433193"/>
              <a:gd name="connsiteY3" fmla="*/ 0 h 553998"/>
              <a:gd name="connsiteX4" fmla="*/ 2311593 w 4433193"/>
              <a:gd name="connsiteY4" fmla="*/ 0 h 553998"/>
              <a:gd name="connsiteX5" fmla="*/ 2900575 w 4433193"/>
              <a:gd name="connsiteY5" fmla="*/ 0 h 553998"/>
              <a:gd name="connsiteX6" fmla="*/ 3445224 w 4433193"/>
              <a:gd name="connsiteY6" fmla="*/ 0 h 553998"/>
              <a:gd name="connsiteX7" fmla="*/ 4433193 w 4433193"/>
              <a:gd name="connsiteY7" fmla="*/ 0 h 553998"/>
              <a:gd name="connsiteX8" fmla="*/ 4433193 w 4433193"/>
              <a:gd name="connsiteY8" fmla="*/ 553998 h 553998"/>
              <a:gd name="connsiteX9" fmla="*/ 3799880 w 4433193"/>
              <a:gd name="connsiteY9" fmla="*/ 553998 h 553998"/>
              <a:gd name="connsiteX10" fmla="*/ 3255230 w 4433193"/>
              <a:gd name="connsiteY10" fmla="*/ 553998 h 553998"/>
              <a:gd name="connsiteX11" fmla="*/ 2533253 w 4433193"/>
              <a:gd name="connsiteY11" fmla="*/ 553998 h 553998"/>
              <a:gd name="connsiteX12" fmla="*/ 1944272 w 4433193"/>
              <a:gd name="connsiteY12" fmla="*/ 553998 h 553998"/>
              <a:gd name="connsiteX13" fmla="*/ 1443954 w 4433193"/>
              <a:gd name="connsiteY13" fmla="*/ 553998 h 553998"/>
              <a:gd name="connsiteX14" fmla="*/ 766309 w 4433193"/>
              <a:gd name="connsiteY14" fmla="*/ 553998 h 553998"/>
              <a:gd name="connsiteX15" fmla="*/ 0 w 4433193"/>
              <a:gd name="connsiteY15" fmla="*/ 553998 h 553998"/>
              <a:gd name="connsiteX16" fmla="*/ 0 w 4433193"/>
              <a:gd name="connsiteY16" fmla="*/ 0 h 55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33193" h="553998" fill="none" extrusionOk="0">
                <a:moveTo>
                  <a:pt x="0" y="0"/>
                </a:moveTo>
                <a:cubicBezTo>
                  <a:pt x="245348" y="-19593"/>
                  <a:pt x="386497" y="890"/>
                  <a:pt x="588981" y="0"/>
                </a:cubicBezTo>
                <a:cubicBezTo>
                  <a:pt x="791465" y="-890"/>
                  <a:pt x="863303" y="-10"/>
                  <a:pt x="1089299" y="0"/>
                </a:cubicBezTo>
                <a:cubicBezTo>
                  <a:pt x="1315295" y="10"/>
                  <a:pt x="1429480" y="-16314"/>
                  <a:pt x="1633948" y="0"/>
                </a:cubicBezTo>
                <a:cubicBezTo>
                  <a:pt x="1838416" y="16314"/>
                  <a:pt x="2029329" y="-18012"/>
                  <a:pt x="2311593" y="0"/>
                </a:cubicBezTo>
                <a:cubicBezTo>
                  <a:pt x="2593857" y="18012"/>
                  <a:pt x="2656473" y="-10530"/>
                  <a:pt x="2900575" y="0"/>
                </a:cubicBezTo>
                <a:cubicBezTo>
                  <a:pt x="3144677" y="10530"/>
                  <a:pt x="3279744" y="5578"/>
                  <a:pt x="3445224" y="0"/>
                </a:cubicBezTo>
                <a:cubicBezTo>
                  <a:pt x="3610704" y="-5578"/>
                  <a:pt x="3977778" y="-41334"/>
                  <a:pt x="4433193" y="0"/>
                </a:cubicBezTo>
                <a:cubicBezTo>
                  <a:pt x="4448191" y="259943"/>
                  <a:pt x="4425673" y="398024"/>
                  <a:pt x="4433193" y="553998"/>
                </a:cubicBezTo>
                <a:cubicBezTo>
                  <a:pt x="4205507" y="542851"/>
                  <a:pt x="4105613" y="557247"/>
                  <a:pt x="3799880" y="553998"/>
                </a:cubicBezTo>
                <a:cubicBezTo>
                  <a:pt x="3494147" y="550749"/>
                  <a:pt x="3490977" y="561812"/>
                  <a:pt x="3255230" y="553998"/>
                </a:cubicBezTo>
                <a:cubicBezTo>
                  <a:pt x="3019483" y="546185"/>
                  <a:pt x="2767629" y="534477"/>
                  <a:pt x="2533253" y="553998"/>
                </a:cubicBezTo>
                <a:cubicBezTo>
                  <a:pt x="2298877" y="573519"/>
                  <a:pt x="2090839" y="546895"/>
                  <a:pt x="1944272" y="553998"/>
                </a:cubicBezTo>
                <a:cubicBezTo>
                  <a:pt x="1797705" y="561101"/>
                  <a:pt x="1624931" y="570077"/>
                  <a:pt x="1443954" y="553998"/>
                </a:cubicBezTo>
                <a:cubicBezTo>
                  <a:pt x="1262977" y="537919"/>
                  <a:pt x="1080343" y="581334"/>
                  <a:pt x="766309" y="553998"/>
                </a:cubicBezTo>
                <a:cubicBezTo>
                  <a:pt x="452276" y="526662"/>
                  <a:pt x="362233" y="585044"/>
                  <a:pt x="0" y="553998"/>
                </a:cubicBezTo>
                <a:cubicBezTo>
                  <a:pt x="-21494" y="334284"/>
                  <a:pt x="14111" y="189339"/>
                  <a:pt x="0" y="0"/>
                </a:cubicBezTo>
                <a:close/>
              </a:path>
              <a:path w="4433193" h="553998" stroke="0" extrusionOk="0">
                <a:moveTo>
                  <a:pt x="0" y="0"/>
                </a:moveTo>
                <a:cubicBezTo>
                  <a:pt x="220928" y="26243"/>
                  <a:pt x="464945" y="-3012"/>
                  <a:pt x="588981" y="0"/>
                </a:cubicBezTo>
                <a:cubicBezTo>
                  <a:pt x="713017" y="3012"/>
                  <a:pt x="896953" y="-7038"/>
                  <a:pt x="1089299" y="0"/>
                </a:cubicBezTo>
                <a:cubicBezTo>
                  <a:pt x="1281645" y="7038"/>
                  <a:pt x="1495183" y="-28125"/>
                  <a:pt x="1811276" y="0"/>
                </a:cubicBezTo>
                <a:cubicBezTo>
                  <a:pt x="2127369" y="28125"/>
                  <a:pt x="2139455" y="-192"/>
                  <a:pt x="2400257" y="0"/>
                </a:cubicBezTo>
                <a:cubicBezTo>
                  <a:pt x="2661059" y="192"/>
                  <a:pt x="2771700" y="4137"/>
                  <a:pt x="2989239" y="0"/>
                </a:cubicBezTo>
                <a:cubicBezTo>
                  <a:pt x="3206778" y="-4137"/>
                  <a:pt x="3549497" y="-25445"/>
                  <a:pt x="3711216" y="0"/>
                </a:cubicBezTo>
                <a:cubicBezTo>
                  <a:pt x="3872935" y="25445"/>
                  <a:pt x="4163654" y="29621"/>
                  <a:pt x="4433193" y="0"/>
                </a:cubicBezTo>
                <a:cubicBezTo>
                  <a:pt x="4411328" y="270947"/>
                  <a:pt x="4438999" y="379060"/>
                  <a:pt x="4433193" y="553998"/>
                </a:cubicBezTo>
                <a:cubicBezTo>
                  <a:pt x="4303521" y="551023"/>
                  <a:pt x="4036965" y="545346"/>
                  <a:pt x="3888544" y="553998"/>
                </a:cubicBezTo>
                <a:cubicBezTo>
                  <a:pt x="3740123" y="562650"/>
                  <a:pt x="3459586" y="564159"/>
                  <a:pt x="3255230" y="553998"/>
                </a:cubicBezTo>
                <a:cubicBezTo>
                  <a:pt x="3050874" y="543837"/>
                  <a:pt x="2782493" y="567432"/>
                  <a:pt x="2621917" y="553998"/>
                </a:cubicBezTo>
                <a:cubicBezTo>
                  <a:pt x="2461341" y="540564"/>
                  <a:pt x="2225559" y="572051"/>
                  <a:pt x="2032936" y="553998"/>
                </a:cubicBezTo>
                <a:cubicBezTo>
                  <a:pt x="1840313" y="535945"/>
                  <a:pt x="1552439" y="550718"/>
                  <a:pt x="1310959" y="553998"/>
                </a:cubicBezTo>
                <a:cubicBezTo>
                  <a:pt x="1069479" y="557278"/>
                  <a:pt x="800713" y="554310"/>
                  <a:pt x="588981" y="553998"/>
                </a:cubicBezTo>
                <a:cubicBezTo>
                  <a:pt x="377249" y="553686"/>
                  <a:pt x="234225" y="560179"/>
                  <a:pt x="0" y="553998"/>
                </a:cubicBezTo>
                <a:cubicBezTo>
                  <a:pt x="-22035" y="382355"/>
                  <a:pt x="-5068" y="126672"/>
                  <a:pt x="0" y="0"/>
                </a:cubicBezTo>
                <a:close/>
              </a:path>
            </a:pathLst>
          </a:custGeom>
          <a:solidFill>
            <a:schemeClr val="bg1">
              <a:lumMod val="95000"/>
            </a:schemeClr>
          </a:solidFill>
          <a:ln>
            <a:solidFill>
              <a:schemeClr val="tx2"/>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3"/>
          </a:lnRef>
          <a:fillRef idx="1">
            <a:schemeClr val="lt1"/>
          </a:fillRef>
          <a:effectRef idx="0">
            <a:schemeClr val="accent3"/>
          </a:effectRef>
          <a:fontRef idx="minor">
            <a:schemeClr val="dk1"/>
          </a:fontRef>
        </p:style>
        <p:txBody>
          <a:bodyPr wrap="square" lIns="0" tIns="0" rIns="0" bIns="0" rtlCol="0">
            <a:spAutoFit/>
          </a:bodyPr>
          <a:lstStyle/>
          <a:p>
            <a:pPr algn="ctr"/>
            <a:br>
              <a:rPr lang="da-DK" sz="1200" dirty="0">
                <a:latin typeface="Quicksand" panose="020B0604020202020204" charset="0"/>
                <a:cs typeface="Amatic SC" panose="00000500000000000000" pitchFamily="2" charset="-79"/>
              </a:rPr>
            </a:br>
            <a:r>
              <a:rPr lang="da-DK" sz="1200" dirty="0">
                <a:latin typeface="Quicksand" panose="020B0604020202020204" charset="0"/>
                <a:cs typeface="Amatic SC" panose="00000500000000000000" pitchFamily="2" charset="-79"/>
              </a:rPr>
              <a:t>Find øvelsesbeskrivelsen til arbejdet med aktiv lytning </a:t>
            </a:r>
            <a:r>
              <a:rPr lang="da-DK" sz="1200" b="1" dirty="0">
                <a:latin typeface="Quicksand" panose="020B0604020202020204" charset="0"/>
                <a:cs typeface="Amatic SC" panose="00000500000000000000" pitchFamily="2" charset="-79"/>
              </a:rPr>
              <a:t>på forrige slide</a:t>
            </a:r>
            <a:br>
              <a:rPr lang="da-DK" sz="1200" dirty="0">
                <a:latin typeface="Quicksand" panose="020B0604020202020204" charset="0"/>
                <a:cs typeface="Amatic SC" panose="00000500000000000000" pitchFamily="2" charset="-79"/>
              </a:rPr>
            </a:br>
            <a:endParaRPr lang="da-DK" sz="1200" dirty="0">
              <a:latin typeface="Quicksand" panose="020B0604020202020204" charset="0"/>
              <a:cs typeface="Amatic SC" panose="00000500000000000000" pitchFamily="2" charset="-79"/>
            </a:endParaRPr>
          </a:p>
        </p:txBody>
      </p:sp>
      <p:pic>
        <p:nvPicPr>
          <p:cNvPr id="8" name="Graphic 7" descr="Information with solid fill">
            <a:extLst>
              <a:ext uri="{FF2B5EF4-FFF2-40B4-BE49-F238E27FC236}">
                <a16:creationId xmlns:a16="http://schemas.microsoft.com/office/drawing/2014/main" id="{48CB32FC-7535-A821-90E6-5F9FC3B2AF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25310" y="5971844"/>
            <a:ext cx="468000" cy="468000"/>
          </a:xfrm>
          <a:prstGeom prst="rect">
            <a:avLst/>
          </a:prstGeom>
        </p:spPr>
      </p:pic>
    </p:spTree>
    <p:extLst>
      <p:ext uri="{BB962C8B-B14F-4D97-AF65-F5344CB8AC3E}">
        <p14:creationId xmlns:p14="http://schemas.microsoft.com/office/powerpoint/2010/main" val="4132159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Playful colors">
      <a:dk1>
        <a:srgbClr val="273F68"/>
      </a:dk1>
      <a:lt1>
        <a:srgbClr val="FFFFFF"/>
      </a:lt1>
      <a:dk2>
        <a:srgbClr val="7085AA"/>
      </a:dk2>
      <a:lt2>
        <a:srgbClr val="F4F7FA"/>
      </a:lt2>
      <a:accent1>
        <a:srgbClr val="4BD1DD"/>
      </a:accent1>
      <a:accent2>
        <a:srgbClr val="57C0EB"/>
      </a:accent2>
      <a:accent3>
        <a:srgbClr val="BD9ADD"/>
      </a:accent3>
      <a:accent4>
        <a:srgbClr val="F3805C"/>
      </a:accent4>
      <a:accent5>
        <a:srgbClr val="FFD11D"/>
      </a:accent5>
      <a:accent6>
        <a:srgbClr val="95D346"/>
      </a:accent6>
      <a:hlink>
        <a:srgbClr val="273F68"/>
      </a:hlink>
      <a:folHlink>
        <a:srgbClr val="6611CC"/>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ppt/theme/theme2.xml><?xml version="1.0" encoding="utf-8"?>
<a:theme xmlns:a="http://schemas.openxmlformats.org/drawingml/2006/main" name="1_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Blank.potx" id="{900E3F7D-0F42-4127-A563-AB863FCD720C}" vid="{53CCD02C-91E1-4BFC-A1BE-18ED37431167}"/>
    </a:ext>
  </a:extLst>
</a:theme>
</file>

<file path=ppt/theme/theme3.xml><?xml version="1.0" encoding="utf-8"?>
<a:theme xmlns:a="http://schemas.openxmlformats.org/drawingml/2006/main" name="2_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Ramboll Template.pptx" id="{5AEA101F-179A-4E02-8835-BB0D3710D3A7}" vid="{E99342CD-4962-46DC-842C-A6C21B4B076F}"/>
    </a:ext>
  </a:extLst>
</a:theme>
</file>

<file path=ppt/theme/theme4.xml><?xml version="1.0" encoding="utf-8"?>
<a:theme xmlns:a="http://schemas.openxmlformats.org/drawingml/2006/main" name="Office-tema">
  <a:themeElements>
    <a:clrScheme name="Kontor">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1C20181D027EE4E8CE43B03417944D7" ma:contentTypeVersion="16" ma:contentTypeDescription="Create a new document." ma:contentTypeScope="" ma:versionID="231e56f3e962ac7a9b44f43c3fcbcbba">
  <xsd:schema xmlns:xsd="http://www.w3.org/2001/XMLSchema" xmlns:xs="http://www.w3.org/2001/XMLSchema" xmlns:p="http://schemas.microsoft.com/office/2006/metadata/properties" xmlns:ns2="403ac9b0-0429-4076-ab5a-1a158639b83e" xmlns:ns3="cc72a137-9d55-4d41-be4a-960e4116afa6" xmlns:ns4="1611cc7e-243d-4120-a4b3-dc62a26f08e1" targetNamespace="http://schemas.microsoft.com/office/2006/metadata/properties" ma:root="true" ma:fieldsID="c22fae0a007d9527542b9602e56be343" ns2:_="" ns3:_="" ns4:_="">
    <xsd:import namespace="403ac9b0-0429-4076-ab5a-1a158639b83e"/>
    <xsd:import namespace="cc72a137-9d55-4d41-be4a-960e4116afa6"/>
    <xsd:import namespace="1611cc7e-243d-4120-a4b3-dc62a26f08e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3ac9b0-0429-4076-ab5a-1a158639b8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c72a137-9d55-4d41-be4a-960e4116afa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611cc7e-243d-4120-a4b3-dc62a26f08e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3eeef0ec-d421-40bf-a8cf-1cdb00db7115}" ma:internalName="TaxCatchAll" ma:showField="CatchAllData" ma:web="cc72a137-9d55-4d41-be4a-960e4116afa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cc72a137-9d55-4d41-be4a-960e4116afa6">
      <UserInfo>
        <DisplayName>Mia Rytter Lund</DisplayName>
        <AccountId>45</AccountId>
        <AccountType/>
      </UserInfo>
      <UserInfo>
        <DisplayName>Nikolaj Godsk Vestergaard</DisplayName>
        <AccountId>197</AccountId>
        <AccountType/>
      </UserInfo>
      <UserInfo>
        <DisplayName>Sophie Bayer</DisplayName>
        <AccountId>243</AccountId>
        <AccountType/>
      </UserInfo>
      <UserInfo>
        <DisplayName>Ida Høst Poulsen</DisplayName>
        <AccountId>427</AccountId>
        <AccountType/>
      </UserInfo>
      <UserInfo>
        <DisplayName>Stine Møller Jespersen</DisplayName>
        <AccountId>2790</AccountId>
        <AccountType/>
      </UserInfo>
      <UserInfo>
        <DisplayName>Marianne Delcomyn</DisplayName>
        <AccountId>82</AccountId>
        <AccountType/>
      </UserInfo>
      <UserInfo>
        <DisplayName>Aman Reehal</DisplayName>
        <AccountId>2501</AccountId>
        <AccountType/>
      </UserInfo>
      <UserInfo>
        <DisplayName>Josephine Andersen</DisplayName>
        <AccountId>1064</AccountId>
        <AccountType/>
      </UserInfo>
    </SharedWithUsers>
    <lcf76f155ced4ddcb4097134ff3c332f xmlns="403ac9b0-0429-4076-ab5a-1a158639b83e">
      <Terms xmlns="http://schemas.microsoft.com/office/infopath/2007/PartnerControls"/>
    </lcf76f155ced4ddcb4097134ff3c332f>
    <TaxCatchAll xmlns="1611cc7e-243d-4120-a4b3-dc62a26f08e1" xsi:nil="true"/>
    <MediaLengthInSeconds xmlns="403ac9b0-0429-4076-ab5a-1a158639b83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44B7B1-BBAE-4C40-B349-3507724CE41F}"/>
</file>

<file path=customXml/itemProps2.xml><?xml version="1.0" encoding="utf-8"?>
<ds:datastoreItem xmlns:ds="http://schemas.openxmlformats.org/officeDocument/2006/customXml" ds:itemID="{E9EFF8DE-3DB9-4F84-BF63-5977268658D3}">
  <ds:schemaRefs>
    <ds:schemaRef ds:uri="1611cc7e-243d-4120-a4b3-dc62a26f08e1"/>
    <ds:schemaRef ds:uri="403ac9b0-0429-4076-ab5a-1a158639b83e"/>
    <ds:schemaRef ds:uri="cc72a137-9d55-4d41-be4a-960e4116afa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1D153CFF-5C71-4AE1-8E1D-1F92B2B8ED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148</TotalTime>
  <Words>2055</Words>
  <Application>Microsoft Macintosh PowerPoint</Application>
  <PresentationFormat>Widescreen</PresentationFormat>
  <Paragraphs>255</Paragraphs>
  <Slides>17</Slides>
  <Notes>17</Notes>
  <HiddenSlides>0</HiddenSlides>
  <MMClips>0</MMClips>
  <ScaleCrop>false</ScaleCrop>
  <HeadingPairs>
    <vt:vector size="8" baseType="variant">
      <vt:variant>
        <vt:lpstr>Benyttede skrifttyper</vt:lpstr>
      </vt:variant>
      <vt:variant>
        <vt:i4>6</vt:i4>
      </vt:variant>
      <vt:variant>
        <vt:lpstr>Tema</vt:lpstr>
      </vt:variant>
      <vt:variant>
        <vt:i4>3</vt:i4>
      </vt:variant>
      <vt:variant>
        <vt:lpstr>Integrerede OLE-servere</vt:lpstr>
      </vt:variant>
      <vt:variant>
        <vt:i4>1</vt:i4>
      </vt:variant>
      <vt:variant>
        <vt:lpstr>Slidetitler</vt:lpstr>
      </vt:variant>
      <vt:variant>
        <vt:i4>17</vt:i4>
      </vt:variant>
    </vt:vector>
  </HeadingPairs>
  <TitlesOfParts>
    <vt:vector size="27" baseType="lpstr">
      <vt:lpstr>Amatic SC</vt:lpstr>
      <vt:lpstr>Arial</vt:lpstr>
      <vt:lpstr>Quicksand</vt:lpstr>
      <vt:lpstr>Quicksand </vt:lpstr>
      <vt:lpstr>Short Stack</vt:lpstr>
      <vt:lpstr>Verdana</vt:lpstr>
      <vt:lpstr>Blank</vt:lpstr>
      <vt:lpstr>1_Blank</vt:lpstr>
      <vt:lpstr>2_Blank</vt:lpstr>
      <vt:lpstr>think-cell Slide</vt:lpstr>
      <vt:lpstr>Procesgreb: Sådan kan I arbejde med resultaterne  på jeres skol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shop december 2022</dc:title>
  <dc:creator>Nikolaj Godsk Vestergaard</dc:creator>
  <cp:lastModifiedBy>Louise Pjengaard Bank</cp:lastModifiedBy>
  <cp:revision>6</cp:revision>
  <cp:lastPrinted>2022-12-14T14:16:49Z</cp:lastPrinted>
  <dcterms:created xsi:type="dcterms:W3CDTF">2022-11-28T10:19:23Z</dcterms:created>
  <dcterms:modified xsi:type="dcterms:W3CDTF">2024-06-18T07:19: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2-11-28T10:19:24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9cef2eea-b7e5-4349-87cc-eae238bee497</vt:lpwstr>
  </property>
  <property fmtid="{D5CDD505-2E9C-101B-9397-08002B2CF9AE}" pid="8" name="MSIP_Label_20ea7001-5c24-4702-a3ac-e436ccb02747_ContentBits">
    <vt:lpwstr>2</vt:lpwstr>
  </property>
  <property fmtid="{D5CDD505-2E9C-101B-9397-08002B2CF9AE}" pid="9" name="ContentTypeId">
    <vt:lpwstr>0x010100F1C20181D027EE4E8CE43B03417944D7</vt:lpwstr>
  </property>
  <property fmtid="{D5CDD505-2E9C-101B-9397-08002B2CF9AE}" pid="10" name="MediaServiceImageTags">
    <vt:lpwstr/>
  </property>
  <property fmtid="{D5CDD505-2E9C-101B-9397-08002B2CF9AE}" pid="11" name="xd_ProgID">
    <vt:lpwstr/>
  </property>
  <property fmtid="{D5CDD505-2E9C-101B-9397-08002B2CF9AE}" pid="12" name="ComplianceAssetId">
    <vt:lpwstr/>
  </property>
  <property fmtid="{D5CDD505-2E9C-101B-9397-08002B2CF9AE}" pid="13" name="TemplateUrl">
    <vt:lpwstr/>
  </property>
  <property fmtid="{D5CDD505-2E9C-101B-9397-08002B2CF9AE}" pid="14" name="_ExtendedDescription">
    <vt:lpwstr/>
  </property>
  <property fmtid="{D5CDD505-2E9C-101B-9397-08002B2CF9AE}" pid="15" name="TriggerFlowInfo">
    <vt:lpwstr/>
  </property>
  <property fmtid="{D5CDD505-2E9C-101B-9397-08002B2CF9AE}" pid="16" name="xd_Signature">
    <vt:bool>false</vt:bool>
  </property>
</Properties>
</file>